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drawings/drawing1.xml" ContentType="application/vnd.openxmlformats-officedocument.drawingml.chartshapes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2.xml" ContentType="application/vnd.openxmlformats-officedocument.drawingml.chartshapes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8.xml" ContentType="application/vnd.openxmlformats-officedocument.drawingml.chart+xml"/>
  <Override PartName="/ppt/drawings/drawing3.xml" ContentType="application/vnd.openxmlformats-officedocument.drawingml.chartshapes+xml"/>
  <Override PartName="/ppt/charts/chart19.xml" ContentType="application/vnd.openxmlformats-officedocument.drawingml.chart+xml"/>
  <Override PartName="/ppt/drawings/drawing4.xml" ContentType="application/vnd.openxmlformats-officedocument.drawingml.chartshape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drawings/drawing5.xml" ContentType="application/vnd.openxmlformats-officedocument.drawingml.chartshapes+xml"/>
  <Override PartName="/ppt/charts/chart22.xml" ContentType="application/vnd.openxmlformats-officedocument.drawingml.chart+xml"/>
  <Override PartName="/ppt/drawings/drawing6.xml" ContentType="application/vnd.openxmlformats-officedocument.drawingml.chartshapes+xml"/>
  <Override PartName="/ppt/charts/chart23.xml" ContentType="application/vnd.openxmlformats-officedocument.drawingml.chart+xml"/>
  <Override PartName="/ppt/drawings/drawing7.xml" ContentType="application/vnd.openxmlformats-officedocument.drawingml.chartshapes+xml"/>
  <Override PartName="/ppt/charts/chart24.xml" ContentType="application/vnd.openxmlformats-officedocument.drawingml.chart+xml"/>
  <Override PartName="/ppt/drawings/drawing8.xml" ContentType="application/vnd.openxmlformats-officedocument.drawingml.chartshape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drawings/drawing9.xml" ContentType="application/vnd.openxmlformats-officedocument.drawingml.chartshape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drawings/drawing10.xml" ContentType="application/vnd.openxmlformats-officedocument.drawingml.chartshapes+xml"/>
  <Override PartName="/ppt/charts/chart29.xml" ContentType="application/vnd.openxmlformats-officedocument.drawingml.chart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93" r:id="rId2"/>
    <p:sldId id="257" r:id="rId3"/>
    <p:sldId id="1039" r:id="rId4"/>
    <p:sldId id="1041" r:id="rId5"/>
    <p:sldId id="1042" r:id="rId6"/>
    <p:sldId id="1043" r:id="rId7"/>
    <p:sldId id="1040" r:id="rId8"/>
    <p:sldId id="1044" r:id="rId9"/>
    <p:sldId id="1045" r:id="rId10"/>
    <p:sldId id="1047" r:id="rId11"/>
    <p:sldId id="1048" r:id="rId12"/>
    <p:sldId id="1046" r:id="rId13"/>
    <p:sldId id="1050" r:id="rId14"/>
    <p:sldId id="1051" r:id="rId15"/>
    <p:sldId id="1052" r:id="rId16"/>
    <p:sldId id="1053" r:id="rId17"/>
    <p:sldId id="1054" r:id="rId18"/>
    <p:sldId id="1055" r:id="rId19"/>
    <p:sldId id="1056" r:id="rId20"/>
    <p:sldId id="1057" r:id="rId21"/>
    <p:sldId id="1058" r:id="rId22"/>
    <p:sldId id="1016" r:id="rId23"/>
  </p:sldIdLst>
  <p:sldSz cx="9144000" cy="6858000" type="screen4x3"/>
  <p:notesSz cx="6797675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lojko Arsic" initials="MA" lastIdx="5" clrIdx="0"/>
  <p:cmAuthor id="1" name="HP" initials="H" lastIdx="1" clrIdx="1">
    <p:extLst>
      <p:ext uri="{19B8F6BF-5375-455C-9EA6-DF929625EA0E}">
        <p15:presenceInfo xmlns:p15="http://schemas.microsoft.com/office/powerpoint/2012/main" userId="HP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1" autoAdjust="0"/>
    <p:restoredTop sz="95928" autoAdjust="0"/>
  </p:normalViewPr>
  <p:slideViewPr>
    <p:cSldViewPr>
      <p:cViewPr varScale="1">
        <p:scale>
          <a:sx n="94" d="100"/>
          <a:sy n="94" d="100"/>
        </p:scale>
        <p:origin x="1440" y="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4" Type="http://schemas.openxmlformats.org/officeDocument/2006/relationships/chartUserShapes" Target="../drawings/drawing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Relationship Id="rId6" Type="http://schemas.openxmlformats.org/officeDocument/2006/relationships/chartUserShapes" Target="../drawings/drawing5.xml"/><Relationship Id="rId5" Type="http://schemas.openxmlformats.org/officeDocument/2006/relationships/package" Target="../embeddings/Microsoft_Excel_Worksheet21.xlsx"/><Relationship Id="rId4" Type="http://schemas.openxmlformats.org/officeDocument/2006/relationships/image" Target="../media/image14.png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openxmlformats.org/officeDocument/2006/relationships/image" Target="../media/image11.png"/><Relationship Id="rId1" Type="http://schemas.openxmlformats.org/officeDocument/2006/relationships/image" Target="../media/image12.png"/><Relationship Id="rId4" Type="http://schemas.openxmlformats.org/officeDocument/2006/relationships/chartUserShapes" Target="../drawings/drawing6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openxmlformats.org/officeDocument/2006/relationships/image" Target="../media/image10.png"/><Relationship Id="rId1" Type="http://schemas.openxmlformats.org/officeDocument/2006/relationships/image" Target="../media/image15.png"/><Relationship Id="rId4" Type="http://schemas.openxmlformats.org/officeDocument/2006/relationships/chartUserShapes" Target="../drawings/drawing7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24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290902291567116E-2"/>
          <c:y val="2.7380687361723759E-2"/>
          <c:w val="0.91295050519740428"/>
          <c:h val="0.83670692995836249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kon T2-1'!$D$2</c:f>
              <c:strCache>
                <c:ptCount val="1"/>
                <c:pt idx="0">
                  <c:v>Recesij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val>
            <c:numRef>
              <c:f>'Grafikon T2-1'!$D$3:$D$87</c:f>
              <c:numCache>
                <c:formatCode>General</c:formatCode>
                <c:ptCount val="85"/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76" formatCode="0.0">
                  <c:v>100</c:v>
                </c:pt>
                <c:pt idx="77" formatCode="0.0">
                  <c:v>1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35-5A4D-B0CD-CA762CD28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-188189200"/>
        <c:axId val="-188189744"/>
      </c:barChart>
      <c:lineChart>
        <c:grouping val="stacked"/>
        <c:varyColors val="0"/>
        <c:ser>
          <c:idx val="0"/>
          <c:order val="0"/>
          <c:tx>
            <c:strRef>
              <c:f>'Grafikon T2-1'!$C$1</c:f>
              <c:strCache>
                <c:ptCount val="1"/>
                <c:pt idx="0">
                  <c:v>Desezonirani indeks BDP-a</c:v>
                </c:pt>
              </c:strCache>
            </c:strRef>
          </c:tx>
          <c:spPr>
            <a:ln w="25400">
              <a:solidFill>
                <a:schemeClr val="tx1"/>
              </a:solidFill>
              <a:prstDash val="solid"/>
            </a:ln>
          </c:spPr>
          <c:marker>
            <c:symbol val="none"/>
          </c:marker>
          <c:cat>
            <c:strRef>
              <c:f>'Grafikon T2-1'!$A$3:$A$103</c:f>
              <c:strCache>
                <c:ptCount val="101"/>
                <c:pt idx="0">
                  <c:v>Q1/01</c:v>
                </c:pt>
                <c:pt idx="1">
                  <c:v>Q2/01</c:v>
                </c:pt>
                <c:pt idx="2">
                  <c:v>Q3/01</c:v>
                </c:pt>
                <c:pt idx="3">
                  <c:v>Q4/01</c:v>
                </c:pt>
                <c:pt idx="4">
                  <c:v>Q1/02</c:v>
                </c:pt>
                <c:pt idx="5">
                  <c:v>Q2/02</c:v>
                </c:pt>
                <c:pt idx="6">
                  <c:v>Q3/02</c:v>
                </c:pt>
                <c:pt idx="7">
                  <c:v>Q4/02</c:v>
                </c:pt>
                <c:pt idx="8">
                  <c:v>Q1/03</c:v>
                </c:pt>
                <c:pt idx="9">
                  <c:v>Q2/03</c:v>
                </c:pt>
                <c:pt idx="10">
                  <c:v>Q3/03</c:v>
                </c:pt>
                <c:pt idx="11">
                  <c:v>Q4/03</c:v>
                </c:pt>
                <c:pt idx="12">
                  <c:v>Q1/04</c:v>
                </c:pt>
                <c:pt idx="13">
                  <c:v>Q2/04</c:v>
                </c:pt>
                <c:pt idx="14">
                  <c:v>Q3/04</c:v>
                </c:pt>
                <c:pt idx="15">
                  <c:v>Q4/04</c:v>
                </c:pt>
                <c:pt idx="16">
                  <c:v>Q1/05</c:v>
                </c:pt>
                <c:pt idx="17">
                  <c:v>Q2/05</c:v>
                </c:pt>
                <c:pt idx="18">
                  <c:v>Q3/05</c:v>
                </c:pt>
                <c:pt idx="19">
                  <c:v>Q4/05</c:v>
                </c:pt>
                <c:pt idx="20">
                  <c:v>Q1/06</c:v>
                </c:pt>
                <c:pt idx="21">
                  <c:v>Q2/06</c:v>
                </c:pt>
                <c:pt idx="22">
                  <c:v>Q3/06</c:v>
                </c:pt>
                <c:pt idx="23">
                  <c:v>Q4/06</c:v>
                </c:pt>
                <c:pt idx="24">
                  <c:v>Q1/07</c:v>
                </c:pt>
                <c:pt idx="25">
                  <c:v>Q2/07</c:v>
                </c:pt>
                <c:pt idx="26">
                  <c:v>Q3/07</c:v>
                </c:pt>
                <c:pt idx="27">
                  <c:v>Q4/07</c:v>
                </c:pt>
                <c:pt idx="28">
                  <c:v>Q1/08</c:v>
                </c:pt>
                <c:pt idx="29">
                  <c:v>Q2/08</c:v>
                </c:pt>
                <c:pt idx="30">
                  <c:v>Q3/08</c:v>
                </c:pt>
                <c:pt idx="31">
                  <c:v>Q4/08</c:v>
                </c:pt>
                <c:pt idx="32">
                  <c:v>Q1/09</c:v>
                </c:pt>
                <c:pt idx="33">
                  <c:v>Q2/09</c:v>
                </c:pt>
                <c:pt idx="34">
                  <c:v>Q3/09</c:v>
                </c:pt>
                <c:pt idx="35">
                  <c:v>Q4/09</c:v>
                </c:pt>
                <c:pt idx="36">
                  <c:v>Q1/10</c:v>
                </c:pt>
                <c:pt idx="37">
                  <c:v>Q2/10</c:v>
                </c:pt>
                <c:pt idx="38">
                  <c:v>Q3/10</c:v>
                </c:pt>
                <c:pt idx="39">
                  <c:v>Q4/10</c:v>
                </c:pt>
                <c:pt idx="40">
                  <c:v>Q1/11</c:v>
                </c:pt>
                <c:pt idx="41">
                  <c:v>Q2/11</c:v>
                </c:pt>
                <c:pt idx="42">
                  <c:v>Q3/11</c:v>
                </c:pt>
                <c:pt idx="43">
                  <c:v>Q4/11</c:v>
                </c:pt>
                <c:pt idx="44">
                  <c:v>Q1/12</c:v>
                </c:pt>
                <c:pt idx="45">
                  <c:v>Q2/12</c:v>
                </c:pt>
                <c:pt idx="46">
                  <c:v>Q3/12</c:v>
                </c:pt>
                <c:pt idx="47">
                  <c:v>Q4/12</c:v>
                </c:pt>
                <c:pt idx="48">
                  <c:v>Q1/13</c:v>
                </c:pt>
                <c:pt idx="49">
                  <c:v>Q2/13</c:v>
                </c:pt>
                <c:pt idx="50">
                  <c:v>Q3/13</c:v>
                </c:pt>
                <c:pt idx="51">
                  <c:v>Q4/13</c:v>
                </c:pt>
                <c:pt idx="52">
                  <c:v>Q1/14</c:v>
                </c:pt>
                <c:pt idx="53">
                  <c:v>Q2/14</c:v>
                </c:pt>
                <c:pt idx="54">
                  <c:v>Q3/14</c:v>
                </c:pt>
                <c:pt idx="55">
                  <c:v>Q4/14</c:v>
                </c:pt>
                <c:pt idx="56">
                  <c:v>Q1/15</c:v>
                </c:pt>
                <c:pt idx="57">
                  <c:v>Q2/15</c:v>
                </c:pt>
                <c:pt idx="58">
                  <c:v>Q3/15</c:v>
                </c:pt>
                <c:pt idx="59">
                  <c:v>Q4/15</c:v>
                </c:pt>
                <c:pt idx="60">
                  <c:v>Q1/16</c:v>
                </c:pt>
                <c:pt idx="61">
                  <c:v>Q2/16</c:v>
                </c:pt>
                <c:pt idx="62">
                  <c:v>Q3/16</c:v>
                </c:pt>
                <c:pt idx="63">
                  <c:v>Q4/16</c:v>
                </c:pt>
                <c:pt idx="64">
                  <c:v>Q1/17</c:v>
                </c:pt>
                <c:pt idx="65">
                  <c:v>Q2/17</c:v>
                </c:pt>
                <c:pt idx="66">
                  <c:v>Q3/17</c:v>
                </c:pt>
                <c:pt idx="67">
                  <c:v>Q4/17</c:v>
                </c:pt>
                <c:pt idx="68">
                  <c:v>Q1/18</c:v>
                </c:pt>
                <c:pt idx="69">
                  <c:v>Q2/18</c:v>
                </c:pt>
                <c:pt idx="70">
                  <c:v>Q3/18</c:v>
                </c:pt>
                <c:pt idx="71">
                  <c:v>Q4/18</c:v>
                </c:pt>
                <c:pt idx="72">
                  <c:v>Q1/19</c:v>
                </c:pt>
                <c:pt idx="73">
                  <c:v>Q2/19</c:v>
                </c:pt>
                <c:pt idx="74">
                  <c:v>Q3/19</c:v>
                </c:pt>
                <c:pt idx="75">
                  <c:v>Q4/19</c:v>
                </c:pt>
                <c:pt idx="76">
                  <c:v>Q1/20</c:v>
                </c:pt>
                <c:pt idx="77">
                  <c:v>Q2/20</c:v>
                </c:pt>
                <c:pt idx="78">
                  <c:v>Q3/20</c:v>
                </c:pt>
                <c:pt idx="79">
                  <c:v>Q4/20</c:v>
                </c:pt>
                <c:pt idx="80">
                  <c:v>Q1/21</c:v>
                </c:pt>
                <c:pt idx="81">
                  <c:v>Q2/21</c:v>
                </c:pt>
                <c:pt idx="82">
                  <c:v>Q3/21</c:v>
                </c:pt>
                <c:pt idx="83">
                  <c:v>Q4/21</c:v>
                </c:pt>
                <c:pt idx="84">
                  <c:v>Q1/22</c:v>
                </c:pt>
                <c:pt idx="85">
                  <c:v>Q2/22</c:v>
                </c:pt>
                <c:pt idx="86">
                  <c:v>Q3/22</c:v>
                </c:pt>
                <c:pt idx="87">
                  <c:v>Q4/22</c:v>
                </c:pt>
                <c:pt idx="88">
                  <c:v>Q1/23</c:v>
                </c:pt>
                <c:pt idx="89">
                  <c:v>Q2/23</c:v>
                </c:pt>
                <c:pt idx="90">
                  <c:v>Q3/23</c:v>
                </c:pt>
                <c:pt idx="91">
                  <c:v>Q4/23</c:v>
                </c:pt>
                <c:pt idx="92">
                  <c:v>Q1/24</c:v>
                </c:pt>
                <c:pt idx="93">
                  <c:v>Q2/24</c:v>
                </c:pt>
                <c:pt idx="94">
                  <c:v>Q3/24</c:v>
                </c:pt>
                <c:pt idx="95">
                  <c:v>Q4/24</c:v>
                </c:pt>
                <c:pt idx="96">
                  <c:v>Q1/25</c:v>
                </c:pt>
                <c:pt idx="97">
                  <c:v>Q2/25</c:v>
                </c:pt>
                <c:pt idx="98">
                  <c:v>Q3/25</c:v>
                </c:pt>
                <c:pt idx="99">
                  <c:v>Q4/25</c:v>
                </c:pt>
                <c:pt idx="100">
                  <c:v>Q1/26</c:v>
                </c:pt>
              </c:strCache>
            </c:strRef>
          </c:cat>
          <c:val>
            <c:numRef>
              <c:f>'Grafikon T2-1'!$C$3:$C$103</c:f>
              <c:numCache>
                <c:formatCode>General</c:formatCode>
                <c:ptCount val="101"/>
                <c:pt idx="0">
                  <c:v>66.511569011456345</c:v>
                </c:pt>
                <c:pt idx="1">
                  <c:v>66.312034304421985</c:v>
                </c:pt>
                <c:pt idx="2">
                  <c:v>67.505650921901577</c:v>
                </c:pt>
                <c:pt idx="3">
                  <c:v>69.260797845871025</c:v>
                </c:pt>
                <c:pt idx="4" formatCode="0.0">
                  <c:v>69.953405824329735</c:v>
                </c:pt>
                <c:pt idx="5" formatCode="0.0">
                  <c:v>71.142613723343345</c:v>
                </c:pt>
                <c:pt idx="6" formatCode="0.0">
                  <c:v>72.992321680150269</c:v>
                </c:pt>
                <c:pt idx="7" formatCode="0.0">
                  <c:v>73.065314001830416</c:v>
                </c:pt>
                <c:pt idx="8" formatCode="0.0">
                  <c:v>73.722901827846911</c:v>
                </c:pt>
                <c:pt idx="9" formatCode="0.0">
                  <c:v>75.19735986440385</c:v>
                </c:pt>
                <c:pt idx="10" formatCode="0.0">
                  <c:v>75.498149303861453</c:v>
                </c:pt>
                <c:pt idx="11" formatCode="0.0">
                  <c:v>75.72464375177303</c:v>
                </c:pt>
                <c:pt idx="12" formatCode="0.0">
                  <c:v>77.542035201815594</c:v>
                </c:pt>
                <c:pt idx="13" formatCode="0.0">
                  <c:v>78.705165729842832</c:v>
                </c:pt>
                <c:pt idx="14" formatCode="0.0">
                  <c:v>80.043153547250157</c:v>
                </c:pt>
                <c:pt idx="15" formatCode="0.0">
                  <c:v>84.205397531707163</c:v>
                </c:pt>
                <c:pt idx="16" formatCode="0.0">
                  <c:v>81.08979782303399</c:v>
                </c:pt>
                <c:pt idx="17" formatCode="0.0">
                  <c:v>84.009030544663219</c:v>
                </c:pt>
                <c:pt idx="18" formatCode="0.0">
                  <c:v>86.19326533882446</c:v>
                </c:pt>
                <c:pt idx="19" formatCode="0.0">
                  <c:v>88.003323910939784</c:v>
                </c:pt>
                <c:pt idx="20" formatCode="0.0">
                  <c:v>86.155254108810055</c:v>
                </c:pt>
                <c:pt idx="21" formatCode="0.0">
                  <c:v>87.619893428659836</c:v>
                </c:pt>
                <c:pt idx="22" formatCode="0.0">
                  <c:v>88.583712256375094</c:v>
                </c:pt>
                <c:pt idx="23" formatCode="0.0">
                  <c:v>90.178219076989848</c:v>
                </c:pt>
                <c:pt idx="24" formatCode="0.0">
                  <c:v>93.514813182838481</c:v>
                </c:pt>
                <c:pt idx="25" formatCode="0.0">
                  <c:v>94.449961314666851</c:v>
                </c:pt>
                <c:pt idx="26" formatCode="0.0">
                  <c:v>95.016661082554847</c:v>
                </c:pt>
                <c:pt idx="27" formatCode="0.0">
                  <c:v>97.202044287453603</c:v>
                </c:pt>
                <c:pt idx="28" formatCode="0.0">
                  <c:v>99.53489335035249</c:v>
                </c:pt>
                <c:pt idx="29" formatCode="0.0">
                  <c:v>101.02791675060779</c:v>
                </c:pt>
                <c:pt idx="30" formatCode="0.0">
                  <c:v>100.21969341660291</c:v>
                </c:pt>
                <c:pt idx="31" formatCode="0.0">
                  <c:v>99.217496482436871</c:v>
                </c:pt>
                <c:pt idx="32" formatCode="0.0">
                  <c:v>96.538624077411086</c:v>
                </c:pt>
                <c:pt idx="33" formatCode="0.0">
                  <c:v>96.442085453333675</c:v>
                </c:pt>
                <c:pt idx="34" formatCode="0.0">
                  <c:v>97.213622136960325</c:v>
                </c:pt>
                <c:pt idx="35" formatCode="0.0">
                  <c:v>97.116408514823377</c:v>
                </c:pt>
                <c:pt idx="36" formatCode="0.0">
                  <c:v>97.893339782941965</c:v>
                </c:pt>
                <c:pt idx="37" formatCode="0.0">
                  <c:v>97.893339782941965</c:v>
                </c:pt>
                <c:pt idx="38" formatCode="0.0">
                  <c:v>99.068059860337272</c:v>
                </c:pt>
                <c:pt idx="39" formatCode="0.0">
                  <c:v>98.671787620895941</c:v>
                </c:pt>
                <c:pt idx="40" formatCode="0.0">
                  <c:v>99.461161921863109</c:v>
                </c:pt>
                <c:pt idx="41" formatCode="0.0">
                  <c:v>98.267627978800746</c:v>
                </c:pt>
                <c:pt idx="42" formatCode="0.0">
                  <c:v>98.169360350821961</c:v>
                </c:pt>
                <c:pt idx="43" formatCode="0.0">
                  <c:v>97.874852269769491</c:v>
                </c:pt>
                <c:pt idx="44" formatCode="0.0">
                  <c:v>97.287603156150894</c:v>
                </c:pt>
                <c:pt idx="45" formatCode="0.0">
                  <c:v>98.844204806649316</c:v>
                </c:pt>
                <c:pt idx="46" formatCode="0.0">
                  <c:v>97.756918553776188</c:v>
                </c:pt>
                <c:pt idx="47" formatCode="0.0">
                  <c:v>98.147946227991284</c:v>
                </c:pt>
                <c:pt idx="48" formatCode="0.0">
                  <c:v>97.460910604395352</c:v>
                </c:pt>
                <c:pt idx="49" formatCode="0.0">
                  <c:v>97.753293336208515</c:v>
                </c:pt>
                <c:pt idx="50" formatCode="0.0">
                  <c:v>99.903865789605106</c:v>
                </c:pt>
                <c:pt idx="51" formatCode="0.0">
                  <c:v>98.705019400129856</c:v>
                </c:pt>
                <c:pt idx="52" formatCode="0.0">
                  <c:v>97.816674225528686</c:v>
                </c:pt>
                <c:pt idx="53" formatCode="0.0">
                  <c:v>96.838507483273403</c:v>
                </c:pt>
                <c:pt idx="54" formatCode="0.0">
                  <c:v>95.385929871024317</c:v>
                </c:pt>
                <c:pt idx="55" formatCode="0.0">
                  <c:v>96.721332889218658</c:v>
                </c:pt>
                <c:pt idx="56" formatCode="0.0">
                  <c:v>97.785267551000047</c:v>
                </c:pt>
                <c:pt idx="57" formatCode="0.0">
                  <c:v>97.883052818551036</c:v>
                </c:pt>
                <c:pt idx="58" formatCode="0.0">
                  <c:v>97.589403660095371</c:v>
                </c:pt>
                <c:pt idx="59" formatCode="0.0">
                  <c:v>98.467708293036253</c:v>
                </c:pt>
                <c:pt idx="60" formatCode="0.0">
                  <c:v>99.846256209138772</c:v>
                </c:pt>
                <c:pt idx="61" formatCode="0.0">
                  <c:v>100.64502625881187</c:v>
                </c:pt>
                <c:pt idx="62" formatCode="0.0">
                  <c:v>101.24889641636474</c:v>
                </c:pt>
                <c:pt idx="63" formatCode="0.0">
                  <c:v>101.35014531278111</c:v>
                </c:pt>
                <c:pt idx="64" formatCode="0.0">
                  <c:v>102.05959632997057</c:v>
                </c:pt>
                <c:pt idx="65" formatCode="0.0">
                  <c:v>102.56989431162043</c:v>
                </c:pt>
                <c:pt idx="66" formatCode="0.0">
                  <c:v>103.59559325473661</c:v>
                </c:pt>
                <c:pt idx="67" formatCode="0.0">
                  <c:v>104.1135712210103</c:v>
                </c:pt>
                <c:pt idx="68" formatCode="0.0">
                  <c:v>106.92463764397759</c:v>
                </c:pt>
                <c:pt idx="69" formatCode="0.0">
                  <c:v>108.10080865806133</c:v>
                </c:pt>
                <c:pt idx="70" formatCode="0.0">
                  <c:v>108.10080865806133</c:v>
                </c:pt>
                <c:pt idx="71" formatCode="0.0">
                  <c:v>107.99270784940327</c:v>
                </c:pt>
                <c:pt idx="72" formatCode="0.0">
                  <c:v>109.93657659069254</c:v>
                </c:pt>
                <c:pt idx="73" formatCode="0.0">
                  <c:v>111.69556181614362</c:v>
                </c:pt>
                <c:pt idx="74" formatCode="0.0">
                  <c:v>114.1528641760988</c:v>
                </c:pt>
                <c:pt idx="75">
                  <c:v>115.75100427456417</c:v>
                </c:pt>
                <c:pt idx="76">
                  <c:v>116.09825728738785</c:v>
                </c:pt>
                <c:pt idx="77">
                  <c:v>103.90794027221213</c:v>
                </c:pt>
                <c:pt idx="78" formatCode="0.0">
                  <c:v>112.74011519535017</c:v>
                </c:pt>
                <c:pt idx="79">
                  <c:v>114.54395703847578</c:v>
                </c:pt>
                <c:pt idx="80">
                  <c:v>117.98027574963004</c:v>
                </c:pt>
                <c:pt idx="81">
                  <c:v>119.16007850712636</c:v>
                </c:pt>
                <c:pt idx="82">
                  <c:v>122.13908046980451</c:v>
                </c:pt>
                <c:pt idx="83">
                  <c:v>123.48261035497234</c:v>
                </c:pt>
                <c:pt idx="84">
                  <c:v>123.60609296532729</c:v>
                </c:pt>
                <c:pt idx="85">
                  <c:v>124.22412343015392</c:v>
                </c:pt>
                <c:pt idx="86">
                  <c:v>123.35455456614284</c:v>
                </c:pt>
                <c:pt idx="87">
                  <c:v>124.46474555723812</c:v>
                </c:pt>
                <c:pt idx="88">
                  <c:v>126.33171674059669</c:v>
                </c:pt>
                <c:pt idx="89">
                  <c:v>127.59503390800266</c:v>
                </c:pt>
                <c:pt idx="90">
                  <c:v>129.25376934880669</c:v>
                </c:pt>
                <c:pt idx="91">
                  <c:v>130.67556081164355</c:v>
                </c:pt>
                <c:pt idx="92">
                  <c:v>131.72096529813672</c:v>
                </c:pt>
                <c:pt idx="93">
                  <c:v>133.16989591641618</c:v>
                </c:pt>
                <c:pt idx="94">
                  <c:v>133.96891529191467</c:v>
                </c:pt>
                <c:pt idx="95">
                  <c:v>135.17463552954194</c:v>
                </c:pt>
                <c:pt idx="96">
                  <c:v>134.22841308083514</c:v>
                </c:pt>
                <c:pt idx="97">
                  <c:v>135.83915403780514</c:v>
                </c:pt>
                <c:pt idx="98">
                  <c:v>136.79002811606981</c:v>
                </c:pt>
                <c:pt idx="99">
                  <c:v>138.15792839723051</c:v>
                </c:pt>
                <c:pt idx="100">
                  <c:v>138.434244254024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E35-5A4D-B0CD-CA762CD28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2651392"/>
        <c:axId val="-212650304"/>
      </c:lineChart>
      <c:catAx>
        <c:axId val="-212651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808080"/>
            </a:solidFill>
            <a:prstDash val="solid"/>
          </a:ln>
        </c:spPr>
        <c:txPr>
          <a:bodyPr rot="-270000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212650304"/>
        <c:crosses val="autoZero"/>
        <c:auto val="1"/>
        <c:lblAlgn val="ctr"/>
        <c:lblOffset val="100"/>
        <c:tickLblSkip val="3"/>
        <c:tickMarkSkip val="1"/>
        <c:noMultiLvlLbl val="0"/>
      </c:catAx>
      <c:valAx>
        <c:axId val="-212650304"/>
        <c:scaling>
          <c:orientation val="minMax"/>
          <c:max val="140"/>
          <c:min val="6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low"/>
        <c:spPr>
          <a:ln w="3175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212651392"/>
        <c:crosses val="autoZero"/>
        <c:crossBetween val="between"/>
      </c:valAx>
      <c:catAx>
        <c:axId val="-188189200"/>
        <c:scaling>
          <c:orientation val="minMax"/>
        </c:scaling>
        <c:delete val="1"/>
        <c:axPos val="b"/>
        <c:majorTickMark val="out"/>
        <c:minorTickMark val="none"/>
        <c:tickLblPos val="nextTo"/>
        <c:crossAx val="-188189744"/>
        <c:crosses val="autoZero"/>
        <c:auto val="1"/>
        <c:lblAlgn val="ctr"/>
        <c:lblOffset val="100"/>
        <c:noMultiLvlLbl val="0"/>
      </c:catAx>
      <c:valAx>
        <c:axId val="-188189744"/>
        <c:scaling>
          <c:orientation val="minMax"/>
          <c:max val="100"/>
        </c:scaling>
        <c:delete val="0"/>
        <c:axPos val="r"/>
        <c:numFmt formatCode="General" sourceLinked="1"/>
        <c:majorTickMark val="none"/>
        <c:minorTickMark val="none"/>
        <c:tickLblPos val="none"/>
        <c:crossAx val="-188189200"/>
        <c:crosses val="max"/>
        <c:crossBetween val="between"/>
      </c:valAx>
      <c:spPr>
        <a:solidFill>
          <a:srgbClr val="FFFFFF"/>
        </a:solidFill>
        <a:ln w="25400">
          <a:noFill/>
        </a:ln>
      </c:spPr>
    </c:plotArea>
    <c:legend>
      <c:legendPos val="r"/>
      <c:layout>
        <c:manualLayout>
          <c:xMode val="edge"/>
          <c:yMode val="edge"/>
          <c:x val="7.3006239786064492E-2"/>
          <c:y val="0.77344685039370076"/>
          <c:w val="0.39121829754369764"/>
          <c:h val="5.7865253861071553E-2"/>
        </c:manualLayout>
      </c:layout>
      <c:overlay val="0"/>
      <c:txPr>
        <a:bodyPr/>
        <a:lstStyle/>
        <a:p>
          <a:pPr>
            <a:defRPr sz="1000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en-US"/>
        </a:p>
      </c:txPr>
    </c:legend>
    <c:plotVisOnly val="0"/>
    <c:dispBlanksAs val="zero"/>
    <c:showDLblsOverMax val="0"/>
  </c:chart>
  <c:spPr>
    <a:solidFill>
      <a:srgbClr val="FFFFFF"/>
    </a:solidFill>
    <a:ln w="3175">
      <a:solidFill>
        <a:srgbClr val="80808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retanje realnih zarada i zarada u evrima, 2017=10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G3_4!$C$20</c:f>
              <c:strCache>
                <c:ptCount val="1"/>
                <c:pt idx="0">
                  <c:v>Realne zarad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B91-4441-9DC0-6B7A9D819F5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3_4!$B$21:$B$30</c:f>
              <c:strCache>
                <c:ptCount val="10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Q1 2026</c:v>
                </c:pt>
              </c:strCache>
            </c:strRef>
          </c:cat>
          <c:val>
            <c:numRef>
              <c:f>G3_4!$C$21:$C$30</c:f>
              <c:numCache>
                <c:formatCode>0.0</c:formatCode>
                <c:ptCount val="10"/>
                <c:pt idx="0">
                  <c:v>100</c:v>
                </c:pt>
                <c:pt idx="1">
                  <c:v>104.40000000000002</c:v>
                </c:pt>
                <c:pt idx="2">
                  <c:v>113.27400000000003</c:v>
                </c:pt>
                <c:pt idx="3">
                  <c:v>121.99609800000002</c:v>
                </c:pt>
                <c:pt idx="4">
                  <c:v>128.58388729200004</c:v>
                </c:pt>
                <c:pt idx="5">
                  <c:v>130.76981337596402</c:v>
                </c:pt>
                <c:pt idx="6">
                  <c:v>133.90828889698719</c:v>
                </c:pt>
                <c:pt idx="7">
                  <c:v>146.09394318661299</c:v>
                </c:pt>
                <c:pt idx="8">
                  <c:v>156.90489498242238</c:v>
                </c:pt>
                <c:pt idx="9">
                  <c:v>168.0132930449548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3B91-4441-9DC0-6B7A9D819F5C}"/>
            </c:ext>
          </c:extLst>
        </c:ser>
        <c:ser>
          <c:idx val="1"/>
          <c:order val="1"/>
          <c:tx>
            <c:strRef>
              <c:f>G3_4!$D$20</c:f>
              <c:strCache>
                <c:ptCount val="1"/>
                <c:pt idx="0">
                  <c:v>Zarade u evrim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B91-4441-9DC0-6B7A9D819F5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3_4!$B$21:$B$30</c:f>
              <c:strCache>
                <c:ptCount val="10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Q1 2026</c:v>
                </c:pt>
              </c:strCache>
            </c:strRef>
          </c:cat>
          <c:val>
            <c:numRef>
              <c:f>G3_4!$D$21:$D$30</c:f>
              <c:numCache>
                <c:formatCode>0.0</c:formatCode>
                <c:ptCount val="10"/>
                <c:pt idx="0">
                  <c:v>100</c:v>
                </c:pt>
                <c:pt idx="1">
                  <c:v>106.35836545920787</c:v>
                </c:pt>
                <c:pt idx="2">
                  <c:v>118.06388316050544</c:v>
                </c:pt>
                <c:pt idx="3">
                  <c:v>129.4455824414562</c:v>
                </c:pt>
                <c:pt idx="4">
                  <c:v>141.92936771970145</c:v>
                </c:pt>
                <c:pt idx="5">
                  <c:v>161.62942734985299</c:v>
                </c:pt>
                <c:pt idx="6">
                  <c:v>185.84419769804319</c:v>
                </c:pt>
                <c:pt idx="7">
                  <c:v>212.36873083465011</c:v>
                </c:pt>
                <c:pt idx="8">
                  <c:v>236.62692678236269</c:v>
                </c:pt>
                <c:pt idx="9">
                  <c:v>256.252478670256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3B91-4441-9DC0-6B7A9D819F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88203888"/>
        <c:axId val="-188203344"/>
      </c:lineChart>
      <c:catAx>
        <c:axId val="-18820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203344"/>
        <c:crosses val="autoZero"/>
        <c:auto val="1"/>
        <c:lblAlgn val="ctr"/>
        <c:lblOffset val="100"/>
        <c:noMultiLvlLbl val="0"/>
      </c:catAx>
      <c:valAx>
        <c:axId val="-188203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203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sr-Latn-RS" sz="1100" b="0" i="0" baseline="0" noProof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ekući i trgovinski bilans % BDP, prosek 2023-2025. </a:t>
            </a:r>
            <a:endParaRPr lang="sr-Latn-RS" sz="1100" noProof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13932893931458354"/>
          <c:y val="3.33333333333333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1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732829356841021E-2"/>
          <c:y val="0.25161111111111112"/>
          <c:w val="0.86653641314293284"/>
          <c:h val="0.717874890638670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heet 1'!$G$19</c:f>
              <c:strCache>
                <c:ptCount val="1"/>
                <c:pt idx="0">
                  <c:v>Tekući bil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Sheet 1'!$F$20:$F$36</c:f>
              <c:strCache>
                <c:ptCount val="17"/>
                <c:pt idx="0">
                  <c:v>Prosek bez Balkana</c:v>
                </c:pt>
                <c:pt idx="1">
                  <c:v>Bulgaria</c:v>
                </c:pt>
                <c:pt idx="2">
                  <c:v>Czechia</c:v>
                </c:pt>
                <c:pt idx="3">
                  <c:v>Estonia</c:v>
                </c:pt>
                <c:pt idx="4">
                  <c:v>Croatia</c:v>
                </c:pt>
                <c:pt idx="5">
                  <c:v>Latvia</c:v>
                </c:pt>
                <c:pt idx="6">
                  <c:v>Lithuania</c:v>
                </c:pt>
                <c:pt idx="7">
                  <c:v>Hungary</c:v>
                </c:pt>
                <c:pt idx="8">
                  <c:v>Poland</c:v>
                </c:pt>
                <c:pt idx="9">
                  <c:v>Romania</c:v>
                </c:pt>
                <c:pt idx="10">
                  <c:v>Slovenia</c:v>
                </c:pt>
                <c:pt idx="11">
                  <c:v>Slovakia</c:v>
                </c:pt>
                <c:pt idx="12">
                  <c:v>BiH</c:v>
                </c:pt>
                <c:pt idx="13">
                  <c:v>Montenegro</c:v>
                </c:pt>
                <c:pt idx="14">
                  <c:v>N. Macedonia</c:v>
                </c:pt>
                <c:pt idx="15">
                  <c:v>Albania</c:v>
                </c:pt>
                <c:pt idx="16">
                  <c:v>Serbia</c:v>
                </c:pt>
              </c:strCache>
            </c:strRef>
          </c:cat>
          <c:val>
            <c:numRef>
              <c:f>'Sheet 1'!$G$20:$G$36</c:f>
              <c:numCache>
                <c:formatCode>#,##0.#</c:formatCode>
                <c:ptCount val="17"/>
                <c:pt idx="0">
                  <c:v>-1.0151515151515151</c:v>
                </c:pt>
                <c:pt idx="1">
                  <c:v>-2.4666666666666668</c:v>
                </c:pt>
                <c:pt idx="2">
                  <c:v>0.76666666666666661</c:v>
                </c:pt>
                <c:pt idx="3">
                  <c:v>-0.8666666666666667</c:v>
                </c:pt>
                <c:pt idx="4">
                  <c:v>-1.8666666666666665</c:v>
                </c:pt>
                <c:pt idx="5">
                  <c:v>-2.9</c:v>
                </c:pt>
                <c:pt idx="6">
                  <c:v>1.7333333333333336</c:v>
                </c:pt>
                <c:pt idx="7">
                  <c:v>1.1666666666666667</c:v>
                </c:pt>
                <c:pt idx="8">
                  <c:v>0.33333333333333331</c:v>
                </c:pt>
                <c:pt idx="9">
                  <c:v>-7.5999999999999988</c:v>
                </c:pt>
                <c:pt idx="10">
                  <c:v>4.2666666666666666</c:v>
                </c:pt>
                <c:pt idx="11">
                  <c:v>-3.7333333333333329</c:v>
                </c:pt>
                <c:pt idx="12">
                  <c:v>-2.8</c:v>
                </c:pt>
                <c:pt idx="13">
                  <c:v>-16.266666666666666</c:v>
                </c:pt>
                <c:pt idx="14">
                  <c:v>-2.1</c:v>
                </c:pt>
                <c:pt idx="15">
                  <c:v>-1.9</c:v>
                </c:pt>
                <c:pt idx="16">
                  <c:v>-3.93333333333333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40A-8B4E-AD73-5470FBAEEA5F}"/>
            </c:ext>
          </c:extLst>
        </c:ser>
        <c:ser>
          <c:idx val="1"/>
          <c:order val="1"/>
          <c:tx>
            <c:strRef>
              <c:f>'Sheet 1'!$H$19</c:f>
              <c:strCache>
                <c:ptCount val="1"/>
                <c:pt idx="0">
                  <c:v>Trgovinski bilan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Sheet 1'!$F$20:$F$36</c:f>
              <c:strCache>
                <c:ptCount val="17"/>
                <c:pt idx="0">
                  <c:v>Prosek bez Balkana</c:v>
                </c:pt>
                <c:pt idx="1">
                  <c:v>Bulgaria</c:v>
                </c:pt>
                <c:pt idx="2">
                  <c:v>Czechia</c:v>
                </c:pt>
                <c:pt idx="3">
                  <c:v>Estonia</c:v>
                </c:pt>
                <c:pt idx="4">
                  <c:v>Croatia</c:v>
                </c:pt>
                <c:pt idx="5">
                  <c:v>Latvia</c:v>
                </c:pt>
                <c:pt idx="6">
                  <c:v>Lithuania</c:v>
                </c:pt>
                <c:pt idx="7">
                  <c:v>Hungary</c:v>
                </c:pt>
                <c:pt idx="8">
                  <c:v>Poland</c:v>
                </c:pt>
                <c:pt idx="9">
                  <c:v>Romania</c:v>
                </c:pt>
                <c:pt idx="10">
                  <c:v>Slovenia</c:v>
                </c:pt>
                <c:pt idx="11">
                  <c:v>Slovakia</c:v>
                </c:pt>
                <c:pt idx="12">
                  <c:v>BiH</c:v>
                </c:pt>
                <c:pt idx="13">
                  <c:v>Montenegro</c:v>
                </c:pt>
                <c:pt idx="14">
                  <c:v>N. Macedonia</c:v>
                </c:pt>
                <c:pt idx="15">
                  <c:v>Albania</c:v>
                </c:pt>
                <c:pt idx="16">
                  <c:v>Serbia</c:v>
                </c:pt>
              </c:strCache>
            </c:strRef>
          </c:cat>
          <c:val>
            <c:numRef>
              <c:f>'Sheet 1'!$H$20:$H$36</c:f>
              <c:numCache>
                <c:formatCode>0.0</c:formatCode>
                <c:ptCount val="17"/>
                <c:pt idx="0" formatCode="#,##0.#">
                  <c:v>1.4242424242424248</c:v>
                </c:pt>
                <c:pt idx="1">
                  <c:v>2.2333333333333334</c:v>
                </c:pt>
                <c:pt idx="2">
                  <c:v>5.7333333333333334</c:v>
                </c:pt>
                <c:pt idx="3">
                  <c:v>0.76666666666666661</c:v>
                </c:pt>
                <c:pt idx="4">
                  <c:v>-3.9</c:v>
                </c:pt>
                <c:pt idx="5">
                  <c:v>-3.3000000000000003</c:v>
                </c:pt>
                <c:pt idx="6">
                  <c:v>4.4333333333333336</c:v>
                </c:pt>
                <c:pt idx="7">
                  <c:v>4.3999999999999995</c:v>
                </c:pt>
                <c:pt idx="8">
                  <c:v>4.2333333333333334</c:v>
                </c:pt>
                <c:pt idx="9">
                  <c:v>-5.3999999999999995</c:v>
                </c:pt>
                <c:pt idx="10">
                  <c:v>6.0333333333333341</c:v>
                </c:pt>
                <c:pt idx="11">
                  <c:v>0.43333333333333335</c:v>
                </c:pt>
                <c:pt idx="12">
                  <c:v>-12.600000000000001</c:v>
                </c:pt>
                <c:pt idx="13">
                  <c:v>-22.366666666666664</c:v>
                </c:pt>
                <c:pt idx="14">
                  <c:v>-13.266666666666666</c:v>
                </c:pt>
                <c:pt idx="15">
                  <c:v>-6.2</c:v>
                </c:pt>
                <c:pt idx="16">
                  <c:v>-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40A-8B4E-AD73-5470FBAEE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201712"/>
        <c:axId val="-188200624"/>
      </c:barChart>
      <c:catAx>
        <c:axId val="-188201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-188200624"/>
        <c:crosses val="autoZero"/>
        <c:auto val="1"/>
        <c:lblAlgn val="ctr"/>
        <c:lblOffset val="100"/>
        <c:noMultiLvlLbl val="0"/>
      </c:catAx>
      <c:valAx>
        <c:axId val="-188200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#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201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491043689881979"/>
          <c:y val="0.856249343832021"/>
          <c:w val="0.51000433301992554"/>
          <c:h val="9.37506561679790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liv </a:t>
            </a:r>
            <a:r>
              <a:rPr lang="sr-Latn-RS" sz="12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Di</a:t>
            </a: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 rashodi po osnovu dividendi,</a:t>
            </a:r>
            <a:r>
              <a:rPr lang="sr-Latn-RS" sz="1200" baseline="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ilioni evra</a:t>
            </a:r>
            <a:endParaRPr lang="sr-Latn-RS" sz="12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eur!$B$300</c:f>
              <c:strCache>
                <c:ptCount val="1"/>
                <c:pt idx="0">
                  <c:v>Rashodi po osnovu dividend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eur!$C$299:$V$299</c:f>
              <c:strCache>
                <c:ptCount val="20"/>
                <c:pt idx="0">
                  <c:v>2007.</c:v>
                </c:pt>
                <c:pt idx="1">
                  <c:v>2008.</c:v>
                </c:pt>
                <c:pt idx="2">
                  <c:v>2009.</c:v>
                </c:pt>
                <c:pt idx="3">
                  <c:v>2010.</c:v>
                </c:pt>
                <c:pt idx="4">
                  <c:v>2011.</c:v>
                </c:pt>
                <c:pt idx="5">
                  <c:v>2012.</c:v>
                </c:pt>
                <c:pt idx="6">
                  <c:v>2013.</c:v>
                </c:pt>
                <c:pt idx="7">
                  <c:v>2014.</c:v>
                </c:pt>
                <c:pt idx="8">
                  <c:v>2015.</c:v>
                </c:pt>
                <c:pt idx="9">
                  <c:v>2016.</c:v>
                </c:pt>
                <c:pt idx="10">
                  <c:v>2017.</c:v>
                </c:pt>
                <c:pt idx="11">
                  <c:v>2018.</c:v>
                </c:pt>
                <c:pt idx="12">
                  <c:v>2019.</c:v>
                </c:pt>
                <c:pt idx="13">
                  <c:v>2020.</c:v>
                </c:pt>
                <c:pt idx="14">
                  <c:v>2021.</c:v>
                </c:pt>
                <c:pt idx="15">
                  <c:v>2022.</c:v>
                </c:pt>
                <c:pt idx="16">
                  <c:v>2023.</c:v>
                </c:pt>
                <c:pt idx="17">
                  <c:v>2024.</c:v>
                </c:pt>
                <c:pt idx="18">
                  <c:v>2025.</c:v>
                </c:pt>
                <c:pt idx="19">
                  <c:v>2026jan-apr</c:v>
                </c:pt>
              </c:strCache>
            </c:strRef>
          </c:cat>
          <c:val>
            <c:numRef>
              <c:f>eur!$C$300:$V$300</c:f>
              <c:numCache>
                <c:formatCode>#,##0</c:formatCode>
                <c:ptCount val="20"/>
                <c:pt idx="0">
                  <c:v>149.97987244999999</c:v>
                </c:pt>
                <c:pt idx="1">
                  <c:v>407.52143110999998</c:v>
                </c:pt>
                <c:pt idx="2">
                  <c:v>199.59366219999998</c:v>
                </c:pt>
                <c:pt idx="3">
                  <c:v>313.08720338000001</c:v>
                </c:pt>
                <c:pt idx="4">
                  <c:v>283.92423639999993</c:v>
                </c:pt>
                <c:pt idx="5">
                  <c:v>330.16070349</c:v>
                </c:pt>
                <c:pt idx="6">
                  <c:v>471.87775712000007</c:v>
                </c:pt>
                <c:pt idx="7">
                  <c:v>454.91319676999996</c:v>
                </c:pt>
                <c:pt idx="8">
                  <c:v>330.97812415000004</c:v>
                </c:pt>
                <c:pt idx="9">
                  <c:v>554.61656850655902</c:v>
                </c:pt>
                <c:pt idx="10">
                  <c:v>817.56424212681213</c:v>
                </c:pt>
                <c:pt idx="11">
                  <c:v>711.34909224411422</c:v>
                </c:pt>
                <c:pt idx="12">
                  <c:v>986.21549999999991</c:v>
                </c:pt>
                <c:pt idx="13">
                  <c:v>717.92305763363731</c:v>
                </c:pt>
                <c:pt idx="14">
                  <c:v>965.76042705663315</c:v>
                </c:pt>
                <c:pt idx="15">
                  <c:v>1530.0664131216795</c:v>
                </c:pt>
                <c:pt idx="16">
                  <c:v>1823.2016603403317</c:v>
                </c:pt>
                <c:pt idx="17">
                  <c:v>2153.6662138462143</c:v>
                </c:pt>
                <c:pt idx="18">
                  <c:v>2539.7610395449287</c:v>
                </c:pt>
                <c:pt idx="19" formatCode="General">
                  <c:v>7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B69-7248-8D21-CE6F91E41462}"/>
            </c:ext>
          </c:extLst>
        </c:ser>
        <c:ser>
          <c:idx val="1"/>
          <c:order val="1"/>
          <c:tx>
            <c:strRef>
              <c:f>eur!$B$301</c:f>
              <c:strCache>
                <c:ptCount val="1"/>
                <c:pt idx="0">
                  <c:v>SD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eur!$C$299:$V$299</c:f>
              <c:strCache>
                <c:ptCount val="20"/>
                <c:pt idx="0">
                  <c:v>2007.</c:v>
                </c:pt>
                <c:pt idx="1">
                  <c:v>2008.</c:v>
                </c:pt>
                <c:pt idx="2">
                  <c:v>2009.</c:v>
                </c:pt>
                <c:pt idx="3">
                  <c:v>2010.</c:v>
                </c:pt>
                <c:pt idx="4">
                  <c:v>2011.</c:v>
                </c:pt>
                <c:pt idx="5">
                  <c:v>2012.</c:v>
                </c:pt>
                <c:pt idx="6">
                  <c:v>2013.</c:v>
                </c:pt>
                <c:pt idx="7">
                  <c:v>2014.</c:v>
                </c:pt>
                <c:pt idx="8">
                  <c:v>2015.</c:v>
                </c:pt>
                <c:pt idx="9">
                  <c:v>2016.</c:v>
                </c:pt>
                <c:pt idx="10">
                  <c:v>2017.</c:v>
                </c:pt>
                <c:pt idx="11">
                  <c:v>2018.</c:v>
                </c:pt>
                <c:pt idx="12">
                  <c:v>2019.</c:v>
                </c:pt>
                <c:pt idx="13">
                  <c:v>2020.</c:v>
                </c:pt>
                <c:pt idx="14">
                  <c:v>2021.</c:v>
                </c:pt>
                <c:pt idx="15">
                  <c:v>2022.</c:v>
                </c:pt>
                <c:pt idx="16">
                  <c:v>2023.</c:v>
                </c:pt>
                <c:pt idx="17">
                  <c:v>2024.</c:v>
                </c:pt>
                <c:pt idx="18">
                  <c:v>2025.</c:v>
                </c:pt>
                <c:pt idx="19">
                  <c:v>2026jan-apr</c:v>
                </c:pt>
              </c:strCache>
            </c:strRef>
          </c:cat>
          <c:val>
            <c:numRef>
              <c:f>eur!$C$301:$V$301</c:f>
              <c:numCache>
                <c:formatCode>#,##0</c:formatCode>
                <c:ptCount val="20"/>
                <c:pt idx="0">
                  <c:v>2050.0161947802485</c:v>
                </c:pt>
                <c:pt idx="1">
                  <c:v>1828.4647063683049</c:v>
                </c:pt>
                <c:pt idx="2">
                  <c:v>1158.7684980002466</c:v>
                </c:pt>
                <c:pt idx="3">
                  <c:v>782.32519037526515</c:v>
                </c:pt>
                <c:pt idx="4">
                  <c:v>2515.942991071257</c:v>
                </c:pt>
                <c:pt idx="5">
                  <c:v>158.34173808686978</c:v>
                </c:pt>
                <c:pt idx="6">
                  <c:v>1106.0936969548466</c:v>
                </c:pt>
                <c:pt idx="7">
                  <c:v>1438.5956509642178</c:v>
                </c:pt>
                <c:pt idx="8">
                  <c:v>1899.9767136987653</c:v>
                </c:pt>
                <c:pt idx="9">
                  <c:v>1369.9920902172225</c:v>
                </c:pt>
                <c:pt idx="10">
                  <c:v>1469.319883849307</c:v>
                </c:pt>
                <c:pt idx="11">
                  <c:v>2988.1703767112167</c:v>
                </c:pt>
                <c:pt idx="12">
                  <c:v>3082.8955182379327</c:v>
                </c:pt>
                <c:pt idx="13">
                  <c:v>1626.9483722871184</c:v>
                </c:pt>
                <c:pt idx="14">
                  <c:v>2767.9352422668981</c:v>
                </c:pt>
                <c:pt idx="15">
                  <c:v>2888.1601459378962</c:v>
                </c:pt>
                <c:pt idx="16">
                  <c:v>3512.7970485508818</c:v>
                </c:pt>
                <c:pt idx="17">
                  <c:v>4089.4883735380577</c:v>
                </c:pt>
                <c:pt idx="18">
                  <c:v>2411.3240783490214</c:v>
                </c:pt>
                <c:pt idx="19" formatCode="General">
                  <c:v>6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B69-7248-8D21-CE6F91E414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195728"/>
        <c:axId val="-188197904"/>
      </c:barChart>
      <c:catAx>
        <c:axId val="-188195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7904"/>
        <c:crosses val="autoZero"/>
        <c:auto val="1"/>
        <c:lblAlgn val="ctr"/>
        <c:lblOffset val="100"/>
        <c:noMultiLvlLbl val="0"/>
      </c:catAx>
      <c:valAx>
        <c:axId val="-188197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572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a1!$A$74:$E$74</c:f>
              <c:strCache>
                <c:ptCount val="5"/>
                <c:pt idx="0">
                  <c:v>SDI, % BD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a1!$F$73:$AA$73</c:f>
              <c:strCache>
                <c:ptCount val="2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Q1</c:v>
                </c:pt>
              </c:strCache>
            </c:strRef>
          </c:cat>
          <c:val>
            <c:numRef>
              <c:f>Tabela1!$F$74:$AA$74</c:f>
              <c:numCache>
                <c:formatCode>#,##0.0</c:formatCode>
                <c:ptCount val="22"/>
                <c:pt idx="0">
                  <c:v>5.4897002265423325</c:v>
                </c:pt>
                <c:pt idx="1">
                  <c:v>12.499388686371656</c:v>
                </c:pt>
                <c:pt idx="2">
                  <c:v>7.7048940032784756</c:v>
                </c:pt>
                <c:pt idx="3">
                  <c:v>6.7001627463253586</c:v>
                </c:pt>
                <c:pt idx="4">
                  <c:v>6.1220347626391156</c:v>
                </c:pt>
                <c:pt idx="5">
                  <c:v>3.4511893985462581</c:v>
                </c:pt>
                <c:pt idx="6">
                  <c:v>9.0047680107850532</c:v>
                </c:pt>
                <c:pt idx="7">
                  <c:v>2.1463758695504462</c:v>
                </c:pt>
                <c:pt idx="8">
                  <c:v>3.418104790483238</c:v>
                </c:pt>
                <c:pt idx="9">
                  <c:v>3.3400837836966653</c:v>
                </c:pt>
                <c:pt idx="10">
                  <c:v>4.8463226788727827</c:v>
                </c:pt>
                <c:pt idx="11">
                  <c:v>4.9762615624829509</c:v>
                </c:pt>
                <c:pt idx="12">
                  <c:v>5.9226411261384051</c:v>
                </c:pt>
                <c:pt idx="13">
                  <c:v>7.0598853153649497</c:v>
                </c:pt>
                <c:pt idx="14">
                  <c:v>7.3820327146428291</c:v>
                </c:pt>
                <c:pt idx="15">
                  <c:v>5.9939397414736986</c:v>
                </c:pt>
                <c:pt idx="16">
                  <c:v>6.538212779347945</c:v>
                </c:pt>
                <c:pt idx="17">
                  <c:v>6.8146870555936694</c:v>
                </c:pt>
                <c:pt idx="18">
                  <c:v>5.6666538172292409</c:v>
                </c:pt>
                <c:pt idx="19">
                  <c:v>5.5280001051713299</c:v>
                </c:pt>
                <c:pt idx="20">
                  <c:v>2.5692197322639365</c:v>
                </c:pt>
                <c:pt idx="21">
                  <c:v>1.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346-8C4B-88D6-C94A948EA8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188196272"/>
        <c:axId val="-188192464"/>
      </c:barChart>
      <c:catAx>
        <c:axId val="-18819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2464"/>
        <c:crosses val="autoZero"/>
        <c:auto val="1"/>
        <c:lblAlgn val="ctr"/>
        <c:lblOffset val="100"/>
        <c:noMultiLvlLbl val="0"/>
      </c:catAx>
      <c:valAx>
        <c:axId val="-188192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T5-6'!$D$2</c:f>
              <c:strCache>
                <c:ptCount val="1"/>
                <c:pt idx="0">
                  <c:v>inflacija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T5-6'!$C$51:$C$235</c:f>
              <c:strCache>
                <c:ptCount val="185"/>
                <c:pt idx="0">
                  <c:v>2011</c:v>
                </c:pt>
                <c:pt idx="1">
                  <c:v>2011</c:v>
                </c:pt>
                <c:pt idx="2">
                  <c:v>2011</c:v>
                </c:pt>
                <c:pt idx="3">
                  <c:v>2011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1</c:v>
                </c:pt>
                <c:pt idx="9">
                  <c:v>2011</c:v>
                </c:pt>
                <c:pt idx="10">
                  <c:v>2011</c:v>
                </c:pt>
                <c:pt idx="11">
                  <c:v>2011</c:v>
                </c:pt>
                <c:pt idx="12">
                  <c:v>2012</c:v>
                </c:pt>
                <c:pt idx="13">
                  <c:v>2012</c:v>
                </c:pt>
                <c:pt idx="14">
                  <c:v>2012</c:v>
                </c:pt>
                <c:pt idx="15">
                  <c:v>2012</c:v>
                </c:pt>
                <c:pt idx="16">
                  <c:v>2012</c:v>
                </c:pt>
                <c:pt idx="17">
                  <c:v>2012</c:v>
                </c:pt>
                <c:pt idx="18">
                  <c:v>2012</c:v>
                </c:pt>
                <c:pt idx="19">
                  <c:v>2012</c:v>
                </c:pt>
                <c:pt idx="20">
                  <c:v>2012</c:v>
                </c:pt>
                <c:pt idx="21">
                  <c:v>2012</c:v>
                </c:pt>
                <c:pt idx="22">
                  <c:v>2012</c:v>
                </c:pt>
                <c:pt idx="23">
                  <c:v>2012</c:v>
                </c:pt>
                <c:pt idx="24">
                  <c:v>2013</c:v>
                </c:pt>
                <c:pt idx="25">
                  <c:v>2013</c:v>
                </c:pt>
                <c:pt idx="26">
                  <c:v>2013</c:v>
                </c:pt>
                <c:pt idx="27">
                  <c:v>2013</c:v>
                </c:pt>
                <c:pt idx="28">
                  <c:v>2013</c:v>
                </c:pt>
                <c:pt idx="29">
                  <c:v>2013</c:v>
                </c:pt>
                <c:pt idx="30">
                  <c:v>2013</c:v>
                </c:pt>
                <c:pt idx="31">
                  <c:v>2013</c:v>
                </c:pt>
                <c:pt idx="32">
                  <c:v>2013</c:v>
                </c:pt>
                <c:pt idx="33">
                  <c:v>2013</c:v>
                </c:pt>
                <c:pt idx="34">
                  <c:v>2013</c:v>
                </c:pt>
                <c:pt idx="35">
                  <c:v>2013</c:v>
                </c:pt>
                <c:pt idx="36">
                  <c:v>2014</c:v>
                </c:pt>
                <c:pt idx="37">
                  <c:v>2014</c:v>
                </c:pt>
                <c:pt idx="38">
                  <c:v>2014</c:v>
                </c:pt>
                <c:pt idx="39">
                  <c:v>2014</c:v>
                </c:pt>
                <c:pt idx="40">
                  <c:v>2014</c:v>
                </c:pt>
                <c:pt idx="41">
                  <c:v>2014</c:v>
                </c:pt>
                <c:pt idx="42">
                  <c:v>2014</c:v>
                </c:pt>
                <c:pt idx="43">
                  <c:v>2014</c:v>
                </c:pt>
                <c:pt idx="44">
                  <c:v>2014</c:v>
                </c:pt>
                <c:pt idx="45">
                  <c:v>2014</c:v>
                </c:pt>
                <c:pt idx="46">
                  <c:v>2014</c:v>
                </c:pt>
                <c:pt idx="47">
                  <c:v>2014</c:v>
                </c:pt>
                <c:pt idx="48">
                  <c:v>2015</c:v>
                </c:pt>
                <c:pt idx="49">
                  <c:v>2015</c:v>
                </c:pt>
                <c:pt idx="50">
                  <c:v>2015</c:v>
                </c:pt>
                <c:pt idx="51">
                  <c:v>2015</c:v>
                </c:pt>
                <c:pt idx="52">
                  <c:v>2015</c:v>
                </c:pt>
                <c:pt idx="53">
                  <c:v>2015</c:v>
                </c:pt>
                <c:pt idx="54">
                  <c:v>2015</c:v>
                </c:pt>
                <c:pt idx="55">
                  <c:v>2015</c:v>
                </c:pt>
                <c:pt idx="56">
                  <c:v>2015</c:v>
                </c:pt>
                <c:pt idx="57">
                  <c:v>2015</c:v>
                </c:pt>
                <c:pt idx="58">
                  <c:v>2015</c:v>
                </c:pt>
                <c:pt idx="59">
                  <c:v>2015</c:v>
                </c:pt>
                <c:pt idx="60">
                  <c:v>2016</c:v>
                </c:pt>
                <c:pt idx="61">
                  <c:v>2016</c:v>
                </c:pt>
                <c:pt idx="62">
                  <c:v>2016</c:v>
                </c:pt>
                <c:pt idx="63">
                  <c:v>2016</c:v>
                </c:pt>
                <c:pt idx="64">
                  <c:v>2016</c:v>
                </c:pt>
                <c:pt idx="65">
                  <c:v>2016</c:v>
                </c:pt>
                <c:pt idx="66">
                  <c:v>2016</c:v>
                </c:pt>
                <c:pt idx="67">
                  <c:v>2016</c:v>
                </c:pt>
                <c:pt idx="68">
                  <c:v>2016</c:v>
                </c:pt>
                <c:pt idx="69">
                  <c:v>2016</c:v>
                </c:pt>
                <c:pt idx="70">
                  <c:v>2016</c:v>
                </c:pt>
                <c:pt idx="71">
                  <c:v>2016</c:v>
                </c:pt>
                <c:pt idx="72">
                  <c:v>2017</c:v>
                </c:pt>
                <c:pt idx="73">
                  <c:v>2017</c:v>
                </c:pt>
                <c:pt idx="74">
                  <c:v>2017</c:v>
                </c:pt>
                <c:pt idx="75">
                  <c:v>2017</c:v>
                </c:pt>
                <c:pt idx="76">
                  <c:v>2017</c:v>
                </c:pt>
                <c:pt idx="77">
                  <c:v>2017</c:v>
                </c:pt>
                <c:pt idx="78">
                  <c:v>2017</c:v>
                </c:pt>
                <c:pt idx="79">
                  <c:v>2017</c:v>
                </c:pt>
                <c:pt idx="80">
                  <c:v>2017</c:v>
                </c:pt>
                <c:pt idx="81">
                  <c:v>2017</c:v>
                </c:pt>
                <c:pt idx="82">
                  <c:v>2017</c:v>
                </c:pt>
                <c:pt idx="83">
                  <c:v>2017</c:v>
                </c:pt>
                <c:pt idx="84">
                  <c:v>2018</c:v>
                </c:pt>
                <c:pt idx="85">
                  <c:v>2018</c:v>
                </c:pt>
                <c:pt idx="86">
                  <c:v>2018</c:v>
                </c:pt>
                <c:pt idx="87">
                  <c:v>2018</c:v>
                </c:pt>
                <c:pt idx="88">
                  <c:v>2018</c:v>
                </c:pt>
                <c:pt idx="89">
                  <c:v>2018</c:v>
                </c:pt>
                <c:pt idx="90">
                  <c:v>2018</c:v>
                </c:pt>
                <c:pt idx="91">
                  <c:v>2018</c:v>
                </c:pt>
                <c:pt idx="92">
                  <c:v>2018</c:v>
                </c:pt>
                <c:pt idx="93">
                  <c:v>2018</c:v>
                </c:pt>
                <c:pt idx="94">
                  <c:v>2018</c:v>
                </c:pt>
                <c:pt idx="95">
                  <c:v>2018</c:v>
                </c:pt>
                <c:pt idx="96">
                  <c:v>2019</c:v>
                </c:pt>
                <c:pt idx="97">
                  <c:v>2019</c:v>
                </c:pt>
                <c:pt idx="98">
                  <c:v>2019</c:v>
                </c:pt>
                <c:pt idx="99">
                  <c:v>2019</c:v>
                </c:pt>
                <c:pt idx="100">
                  <c:v>2019</c:v>
                </c:pt>
                <c:pt idx="101">
                  <c:v>2019</c:v>
                </c:pt>
                <c:pt idx="102">
                  <c:v>2019</c:v>
                </c:pt>
                <c:pt idx="103">
                  <c:v>2019</c:v>
                </c:pt>
                <c:pt idx="104">
                  <c:v>2019</c:v>
                </c:pt>
                <c:pt idx="105">
                  <c:v>2019</c:v>
                </c:pt>
                <c:pt idx="106">
                  <c:v>2019</c:v>
                </c:pt>
                <c:pt idx="107">
                  <c:v>2019</c:v>
                </c:pt>
                <c:pt idx="108">
                  <c:v>2020</c:v>
                </c:pt>
                <c:pt idx="109">
                  <c:v>2020</c:v>
                </c:pt>
                <c:pt idx="110">
                  <c:v>2020</c:v>
                </c:pt>
                <c:pt idx="111">
                  <c:v>2020</c:v>
                </c:pt>
                <c:pt idx="112">
                  <c:v>2020</c:v>
                </c:pt>
                <c:pt idx="113">
                  <c:v>2020</c:v>
                </c:pt>
                <c:pt idx="114">
                  <c:v>2020</c:v>
                </c:pt>
                <c:pt idx="115">
                  <c:v>2020</c:v>
                </c:pt>
                <c:pt idx="116">
                  <c:v>2020</c:v>
                </c:pt>
                <c:pt idx="117">
                  <c:v>2020</c:v>
                </c:pt>
                <c:pt idx="118">
                  <c:v>2020</c:v>
                </c:pt>
                <c:pt idx="119">
                  <c:v>2020</c:v>
                </c:pt>
                <c:pt idx="120">
                  <c:v>2021</c:v>
                </c:pt>
                <c:pt idx="121">
                  <c:v>2021</c:v>
                </c:pt>
                <c:pt idx="122">
                  <c:v>2021</c:v>
                </c:pt>
                <c:pt idx="123">
                  <c:v>2021</c:v>
                </c:pt>
                <c:pt idx="124">
                  <c:v>2021</c:v>
                </c:pt>
                <c:pt idx="125">
                  <c:v>2021</c:v>
                </c:pt>
                <c:pt idx="126">
                  <c:v>2021</c:v>
                </c:pt>
                <c:pt idx="127">
                  <c:v>2021</c:v>
                </c:pt>
                <c:pt idx="128">
                  <c:v>2021</c:v>
                </c:pt>
                <c:pt idx="129">
                  <c:v>2021</c:v>
                </c:pt>
                <c:pt idx="130">
                  <c:v>2021</c:v>
                </c:pt>
                <c:pt idx="131">
                  <c:v>2021</c:v>
                </c:pt>
                <c:pt idx="132">
                  <c:v>2022</c:v>
                </c:pt>
                <c:pt idx="133">
                  <c:v>2022</c:v>
                </c:pt>
                <c:pt idx="134">
                  <c:v>2022</c:v>
                </c:pt>
                <c:pt idx="135">
                  <c:v>2022</c:v>
                </c:pt>
                <c:pt idx="136">
                  <c:v>2022</c:v>
                </c:pt>
                <c:pt idx="137">
                  <c:v>2022</c:v>
                </c:pt>
                <c:pt idx="138">
                  <c:v>2022</c:v>
                </c:pt>
                <c:pt idx="139">
                  <c:v>2022</c:v>
                </c:pt>
                <c:pt idx="140">
                  <c:v>2022</c:v>
                </c:pt>
                <c:pt idx="141">
                  <c:v>2022</c:v>
                </c:pt>
                <c:pt idx="142">
                  <c:v>2022</c:v>
                </c:pt>
                <c:pt idx="143">
                  <c:v>2022</c:v>
                </c:pt>
                <c:pt idx="144">
                  <c:v>2023</c:v>
                </c:pt>
                <c:pt idx="145">
                  <c:v>2023</c:v>
                </c:pt>
                <c:pt idx="146">
                  <c:v>2023</c:v>
                </c:pt>
                <c:pt idx="147">
                  <c:v>2023</c:v>
                </c:pt>
                <c:pt idx="148">
                  <c:v>2023</c:v>
                </c:pt>
                <c:pt idx="149">
                  <c:v>2023</c:v>
                </c:pt>
                <c:pt idx="150">
                  <c:v>2023</c:v>
                </c:pt>
                <c:pt idx="151">
                  <c:v>2023</c:v>
                </c:pt>
                <c:pt idx="152">
                  <c:v>2023</c:v>
                </c:pt>
                <c:pt idx="153">
                  <c:v>2023</c:v>
                </c:pt>
                <c:pt idx="154">
                  <c:v>2023</c:v>
                </c:pt>
                <c:pt idx="155">
                  <c:v>2023</c:v>
                </c:pt>
                <c:pt idx="156">
                  <c:v>2024</c:v>
                </c:pt>
                <c:pt idx="157">
                  <c:v>2024</c:v>
                </c:pt>
                <c:pt idx="158">
                  <c:v>2024</c:v>
                </c:pt>
                <c:pt idx="159">
                  <c:v>2024</c:v>
                </c:pt>
                <c:pt idx="160">
                  <c:v>2024</c:v>
                </c:pt>
                <c:pt idx="161">
                  <c:v>2024</c:v>
                </c:pt>
                <c:pt idx="162">
                  <c:v>2024</c:v>
                </c:pt>
                <c:pt idx="163">
                  <c:v>2024</c:v>
                </c:pt>
                <c:pt idx="164">
                  <c:v>2024</c:v>
                </c:pt>
                <c:pt idx="165">
                  <c:v>2024</c:v>
                </c:pt>
                <c:pt idx="166">
                  <c:v>2024</c:v>
                </c:pt>
                <c:pt idx="167">
                  <c:v>2024</c:v>
                </c:pt>
                <c:pt idx="168">
                  <c:v>2025</c:v>
                </c:pt>
                <c:pt idx="169">
                  <c:v>2025</c:v>
                </c:pt>
                <c:pt idx="170">
                  <c:v>2025</c:v>
                </c:pt>
                <c:pt idx="171">
                  <c:v>2025</c:v>
                </c:pt>
                <c:pt idx="172">
                  <c:v>2025</c:v>
                </c:pt>
                <c:pt idx="173">
                  <c:v>2025</c:v>
                </c:pt>
                <c:pt idx="174">
                  <c:v>2025</c:v>
                </c:pt>
                <c:pt idx="175">
                  <c:v>2025</c:v>
                </c:pt>
                <c:pt idx="176">
                  <c:v>2025</c:v>
                </c:pt>
                <c:pt idx="177">
                  <c:v>2025</c:v>
                </c:pt>
                <c:pt idx="178">
                  <c:v>2025</c:v>
                </c:pt>
                <c:pt idx="179">
                  <c:v>2025</c:v>
                </c:pt>
                <c:pt idx="180">
                  <c:v>2026</c:v>
                </c:pt>
                <c:pt idx="181">
                  <c:v>2026</c:v>
                </c:pt>
                <c:pt idx="182">
                  <c:v>2026</c:v>
                </c:pt>
                <c:pt idx="183">
                  <c:v>2026</c:v>
                </c:pt>
                <c:pt idx="184">
                  <c:v>2026</c:v>
                </c:pt>
              </c:strCache>
            </c:strRef>
          </c:cat>
          <c:val>
            <c:numRef>
              <c:f>'T5-6'!$D$51:$D$235</c:f>
              <c:numCache>
                <c:formatCode>#,##0.0</c:formatCode>
                <c:ptCount val="185"/>
                <c:pt idx="0">
                  <c:v>11.2</c:v>
                </c:pt>
                <c:pt idx="1">
                  <c:v>12.6</c:v>
                </c:pt>
                <c:pt idx="2">
                  <c:v>14.1</c:v>
                </c:pt>
                <c:pt idx="3">
                  <c:v>14.7</c:v>
                </c:pt>
                <c:pt idx="4">
                  <c:v>13.4</c:v>
                </c:pt>
                <c:pt idx="5">
                  <c:v>12.7</c:v>
                </c:pt>
                <c:pt idx="6">
                  <c:v>12.1</c:v>
                </c:pt>
                <c:pt idx="7">
                  <c:v>10.5</c:v>
                </c:pt>
                <c:pt idx="8">
                  <c:v>9.3000000000000007</c:v>
                </c:pt>
                <c:pt idx="9">
                  <c:v>8.6999999999999993</c:v>
                </c:pt>
                <c:pt idx="10">
                  <c:v>8.1</c:v>
                </c:pt>
                <c:pt idx="11">
                  <c:v>7</c:v>
                </c:pt>
                <c:pt idx="12">
                  <c:v>5.6</c:v>
                </c:pt>
                <c:pt idx="13">
                  <c:v>4.9000000000000004</c:v>
                </c:pt>
                <c:pt idx="14">
                  <c:v>3.2</c:v>
                </c:pt>
                <c:pt idx="15">
                  <c:v>2.7</c:v>
                </c:pt>
                <c:pt idx="16">
                  <c:v>3.9</c:v>
                </c:pt>
                <c:pt idx="17">
                  <c:v>5.5</c:v>
                </c:pt>
                <c:pt idx="18">
                  <c:v>6.1</c:v>
                </c:pt>
                <c:pt idx="19">
                  <c:v>7.9</c:v>
                </c:pt>
                <c:pt idx="20">
                  <c:v>10.3</c:v>
                </c:pt>
                <c:pt idx="21">
                  <c:v>12.886464016627697</c:v>
                </c:pt>
                <c:pt idx="22">
                  <c:v>11.890813107577426</c:v>
                </c:pt>
                <c:pt idx="23">
                  <c:v>12.205872820379838</c:v>
                </c:pt>
                <c:pt idx="24">
                  <c:v>12.744463152441398</c:v>
                </c:pt>
                <c:pt idx="25">
                  <c:v>12.459858702633264</c:v>
                </c:pt>
                <c:pt idx="26">
                  <c:v>11.238167841941426</c:v>
                </c:pt>
                <c:pt idx="27">
                  <c:v>11.461951373539625</c:v>
                </c:pt>
                <c:pt idx="28">
                  <c:v>9.9551457762272477</c:v>
                </c:pt>
                <c:pt idx="29">
                  <c:v>9.7493379318839501</c:v>
                </c:pt>
                <c:pt idx="30">
                  <c:v>8.6100861008610039</c:v>
                </c:pt>
                <c:pt idx="31">
                  <c:v>7.3</c:v>
                </c:pt>
                <c:pt idx="32">
                  <c:v>4.8</c:v>
                </c:pt>
                <c:pt idx="33">
                  <c:v>2.2000000000000002</c:v>
                </c:pt>
                <c:pt idx="34">
                  <c:v>1.6</c:v>
                </c:pt>
                <c:pt idx="35">
                  <c:v>2.2000000000000002</c:v>
                </c:pt>
                <c:pt idx="36" formatCode="General">
                  <c:v>3.1</c:v>
                </c:pt>
                <c:pt idx="37">
                  <c:v>2.6270702455739592</c:v>
                </c:pt>
                <c:pt idx="38">
                  <c:v>2.2844089091947462</c:v>
                </c:pt>
                <c:pt idx="39">
                  <c:v>2.039660056657211</c:v>
                </c:pt>
                <c:pt idx="40">
                  <c:v>2.0963172804532526</c:v>
                </c:pt>
                <c:pt idx="41">
                  <c:v>1.2345679012345734</c:v>
                </c:pt>
                <c:pt idx="42">
                  <c:v>2.0385050962627327</c:v>
                </c:pt>
                <c:pt idx="43">
                  <c:v>1.46644106034968</c:v>
                </c:pt>
                <c:pt idx="44">
                  <c:v>2.1432600112803102</c:v>
                </c:pt>
                <c:pt idx="45">
                  <c:v>1.80180180180181</c:v>
                </c:pt>
                <c:pt idx="46">
                  <c:v>2.4362606232294581</c:v>
                </c:pt>
                <c:pt idx="47">
                  <c:v>1.7524024872809463</c:v>
                </c:pt>
                <c:pt idx="48">
                  <c:v>5.5710306406675514E-2</c:v>
                </c:pt>
                <c:pt idx="49">
                  <c:v>0.77907623817474736</c:v>
                </c:pt>
                <c:pt idx="50">
                  <c:v>1.8425460636515956</c:v>
                </c:pt>
                <c:pt idx="51">
                  <c:v>1.8323153803442516</c:v>
                </c:pt>
                <c:pt idx="52">
                  <c:v>1.498335183129873</c:v>
                </c:pt>
                <c:pt idx="53">
                  <c:v>1.8847006651884657</c:v>
                </c:pt>
                <c:pt idx="54">
                  <c:v>1.0543840177580588</c:v>
                </c:pt>
                <c:pt idx="55">
                  <c:v>2.1122846025569686</c:v>
                </c:pt>
                <c:pt idx="56">
                  <c:v>1.4356709000552081</c:v>
                </c:pt>
                <c:pt idx="57">
                  <c:v>1.3827433628318619</c:v>
                </c:pt>
                <c:pt idx="58">
                  <c:v>1.2721238938053103</c:v>
                </c:pt>
                <c:pt idx="59">
                  <c:v>1.5555555555555545</c:v>
                </c:pt>
                <c:pt idx="60">
                  <c:v>2.3385300668151476</c:v>
                </c:pt>
                <c:pt idx="61" formatCode="0.0">
                  <c:v>1.4356709000552081</c:v>
                </c:pt>
                <c:pt idx="62" formatCode="0.0">
                  <c:v>0.60307017543859143</c:v>
                </c:pt>
                <c:pt idx="63" formatCode="0.0">
                  <c:v>0.4362050163576825</c:v>
                </c:pt>
                <c:pt idx="64" formatCode="0.0">
                  <c:v>0.76544559868780837</c:v>
                </c:pt>
                <c:pt idx="65" formatCode="0.0">
                  <c:v>0.32644178454841466</c:v>
                </c:pt>
                <c:pt idx="66" formatCode="0.0">
                  <c:v>1.2081274025260935</c:v>
                </c:pt>
                <c:pt idx="67" formatCode="0.0">
                  <c:v>1.1976047904191711</c:v>
                </c:pt>
                <c:pt idx="68" formatCode="0.0">
                  <c:v>0.59880239520959666</c:v>
                </c:pt>
                <c:pt idx="69" formatCode="0.0">
                  <c:v>1.5275504637206616</c:v>
                </c:pt>
                <c:pt idx="70" formatCode="0.0">
                  <c:v>1.5292190060076427</c:v>
                </c:pt>
                <c:pt idx="71" formatCode="0.0">
                  <c:v>1.5317286652078765</c:v>
                </c:pt>
                <c:pt idx="72" formatCode="0.0">
                  <c:v>2.4483133841131766</c:v>
                </c:pt>
                <c:pt idx="73" formatCode="0.0">
                  <c:v>3.211758301578671</c:v>
                </c:pt>
                <c:pt idx="74" formatCode="0.0">
                  <c:v>3.5422343324250649</c:v>
                </c:pt>
                <c:pt idx="75" formatCode="0.0">
                  <c:v>3.9630836047774176</c:v>
                </c:pt>
                <c:pt idx="76" formatCode="0.0">
                  <c:v>3.4183396635919516</c:v>
                </c:pt>
                <c:pt idx="77" formatCode="0.0">
                  <c:v>3.579175704989157</c:v>
                </c:pt>
                <c:pt idx="78" formatCode="0.0">
                  <c:v>3.2013022246337286</c:v>
                </c:pt>
                <c:pt idx="79" formatCode="General">
                  <c:v>2.5</c:v>
                </c:pt>
                <c:pt idx="80" formatCode="0.0">
                  <c:v>3.1926406926406692</c:v>
                </c:pt>
                <c:pt idx="81" formatCode="0.0">
                  <c:v>2.7404621171413179</c:v>
                </c:pt>
                <c:pt idx="82" formatCode="0.0">
                  <c:v>2.7972027972027913</c:v>
                </c:pt>
                <c:pt idx="83" formatCode="0.0">
                  <c:v>3.0172413793103425</c:v>
                </c:pt>
                <c:pt idx="84" formatCode="0.0">
                  <c:v>1.8587360594795488</c:v>
                </c:pt>
                <c:pt idx="85" formatCode="General">
                  <c:v>1.5</c:v>
                </c:pt>
                <c:pt idx="86" formatCode="0.0">
                  <c:v>1.4210526315789451</c:v>
                </c:pt>
                <c:pt idx="87" formatCode="0.0">
                  <c:v>1.0443864229765065</c:v>
                </c:pt>
                <c:pt idx="88" formatCode="0.0">
                  <c:v>2.2000000000000002</c:v>
                </c:pt>
                <c:pt idx="89" formatCode="0.0">
                  <c:v>2.3036649214659644</c:v>
                </c:pt>
                <c:pt idx="90" formatCode="0.0">
                  <c:v>2.4185068349106276</c:v>
                </c:pt>
                <c:pt idx="91" formatCode="General">
                  <c:v>2.6</c:v>
                </c:pt>
                <c:pt idx="92" formatCode="0.0">
                  <c:v>2.1499737808075681</c:v>
                </c:pt>
                <c:pt idx="93" formatCode="0.0">
                  <c:v>2.1966527196652708</c:v>
                </c:pt>
                <c:pt idx="94" formatCode="0.0">
                  <c:v>1.9361590790162309</c:v>
                </c:pt>
                <c:pt idx="95" formatCode="0.0">
                  <c:v>1.9874476987447709</c:v>
                </c:pt>
                <c:pt idx="96" formatCode="0.0">
                  <c:v>2.0333680917622443</c:v>
                </c:pt>
                <c:pt idx="97" formatCode="0.0">
                  <c:v>2.4428274428274444</c:v>
                </c:pt>
                <c:pt idx="98" formatCode="0.0">
                  <c:v>2.7503892060197321</c:v>
                </c:pt>
                <c:pt idx="99" formatCode="0.0">
                  <c:v>3.0490956072351416</c:v>
                </c:pt>
                <c:pt idx="100" formatCode="0.0">
                  <c:v>2.1571648690292822</c:v>
                </c:pt>
                <c:pt idx="101" formatCode="0.0">
                  <c:v>1.535312180143289</c:v>
                </c:pt>
                <c:pt idx="102" formatCode="0.0">
                  <c:v>1.5913757700205311</c:v>
                </c:pt>
                <c:pt idx="103" formatCode="0.0">
                  <c:v>1.2794268167860778</c:v>
                </c:pt>
                <c:pt idx="104" formatCode="0.0">
                  <c:v>1.1293634496919891</c:v>
                </c:pt>
                <c:pt idx="105" formatCode="0.0">
                  <c:v>0.97236438075742893</c:v>
                </c:pt>
                <c:pt idx="106" formatCode="0.0">
                  <c:v>1.4373716632443356</c:v>
                </c:pt>
                <c:pt idx="107" formatCode="0.0">
                  <c:v>1.8461538461538529</c:v>
                </c:pt>
                <c:pt idx="108" formatCode="0.0">
                  <c:v>2.0439448134900395</c:v>
                </c:pt>
                <c:pt idx="109" formatCode="0.0">
                  <c:v>1.9279553526128979</c:v>
                </c:pt>
                <c:pt idx="110" formatCode="0.0">
                  <c:v>1.3636363636363669</c:v>
                </c:pt>
                <c:pt idx="111" formatCode="0.0">
                  <c:v>0.70210631895686326</c:v>
                </c:pt>
                <c:pt idx="112" formatCode="0.0">
                  <c:v>0.70387129210658372</c:v>
                </c:pt>
                <c:pt idx="113" formatCode="0.0">
                  <c:v>1.5625</c:v>
                </c:pt>
                <c:pt idx="114" formatCode="0.0">
                  <c:v>2.0212228398180931</c:v>
                </c:pt>
                <c:pt idx="115" formatCode="0.0">
                  <c:v>1.9201616978271829</c:v>
                </c:pt>
                <c:pt idx="116" formatCode="0.0">
                  <c:v>1.8781725888324718</c:v>
                </c:pt>
                <c:pt idx="117" formatCode="0.0">
                  <c:v>1.8246325392802909</c:v>
                </c:pt>
                <c:pt idx="118" formatCode="0.0">
                  <c:v>1.7206477732793601</c:v>
                </c:pt>
                <c:pt idx="119" formatCode="0.0">
                  <c:v>1.2588116817723982</c:v>
                </c:pt>
                <c:pt idx="120" formatCode="0.0">
                  <c:v>1.1517275913870861</c:v>
                </c:pt>
                <c:pt idx="121" formatCode="0.0">
                  <c:v>1.1946241911398703</c:v>
                </c:pt>
                <c:pt idx="122" formatCode="0.0">
                  <c:v>1.7937219730941756</c:v>
                </c:pt>
                <c:pt idx="123" formatCode="0.0">
                  <c:v>2.7888446215139417</c:v>
                </c:pt>
                <c:pt idx="124" formatCode="0.0">
                  <c:v>3.5946080878682007</c:v>
                </c:pt>
                <c:pt idx="125" formatCode="0.0">
                  <c:v>3.2754342431761785</c:v>
                </c:pt>
                <c:pt idx="126" formatCode="0.0">
                  <c:v>3.3184744923229204</c:v>
                </c:pt>
                <c:pt idx="127" formatCode="0.0">
                  <c:v>4.3133366385721406</c:v>
                </c:pt>
                <c:pt idx="128" formatCode="0.0">
                  <c:v>5.6801195814648819</c:v>
                </c:pt>
                <c:pt idx="129" formatCode="0.0">
                  <c:v>6.5704330512692755</c:v>
                </c:pt>
                <c:pt idx="130" formatCode="0.0">
                  <c:v>7.4626865671641784</c:v>
                </c:pt>
                <c:pt idx="131" formatCode="0.0">
                  <c:v>7.8567876678269588</c:v>
                </c:pt>
                <c:pt idx="132" formatCode="0.0">
                  <c:v>8.2673267326732525</c:v>
                </c:pt>
                <c:pt idx="133" formatCode="0.0">
                  <c:v>8.7555336940482</c:v>
                </c:pt>
                <c:pt idx="134" formatCode="0.0">
                  <c:v>9.104258443465497</c:v>
                </c:pt>
                <c:pt idx="135" formatCode="0.0">
                  <c:v>9.6414728682170612</c:v>
                </c:pt>
                <c:pt idx="136" formatCode="0.0">
                  <c:v>10.40963855421686</c:v>
                </c:pt>
                <c:pt idx="137" formatCode="0.0">
                  <c:v>11.869293608841902</c:v>
                </c:pt>
                <c:pt idx="138" formatCode="0.0">
                  <c:v>12.751677852348987</c:v>
                </c:pt>
                <c:pt idx="139" formatCode="0.0">
                  <c:v>13.165399239543717</c:v>
                </c:pt>
                <c:pt idx="140" formatCode="0.0">
                  <c:v>13.955681282413956</c:v>
                </c:pt>
                <c:pt idx="141" formatCode="0.0">
                  <c:v>14.992993928070986</c:v>
                </c:pt>
                <c:pt idx="142" formatCode="0.0">
                  <c:v>15.092592592592592</c:v>
                </c:pt>
                <c:pt idx="143" formatCode="0.0">
                  <c:v>15.122176118026731</c:v>
                </c:pt>
                <c:pt idx="144" formatCode="0.0">
                  <c:v>15.775034293552803</c:v>
                </c:pt>
                <c:pt idx="145" formatCode="0.0">
                  <c:v>16.101311623699676</c:v>
                </c:pt>
                <c:pt idx="146" formatCode="0.0">
                  <c:v>16.150740242261087</c:v>
                </c:pt>
                <c:pt idx="147" formatCode="0.0">
                  <c:v>15.156871409633244</c:v>
                </c:pt>
                <c:pt idx="148" formatCode="General">
                  <c:v>14.8</c:v>
                </c:pt>
                <c:pt idx="149" formatCode="0.0">
                  <c:v>13.745704467353947</c:v>
                </c:pt>
                <c:pt idx="150" formatCode="0.0">
                  <c:v>12.542517006802711</c:v>
                </c:pt>
                <c:pt idx="151" formatCode="0.0">
                  <c:v>11.549769004619925</c:v>
                </c:pt>
                <c:pt idx="152" formatCode="0.0">
                  <c:v>10.219280099296647</c:v>
                </c:pt>
                <c:pt idx="153" formatCode="0.0">
                  <c:v>8.4890333062551004</c:v>
                </c:pt>
                <c:pt idx="154" formatCode="0.0">
                  <c:v>8</c:v>
                </c:pt>
                <c:pt idx="155" formatCode="0.0">
                  <c:v>7.6491790148177863</c:v>
                </c:pt>
                <c:pt idx="156" formatCode="0.0">
                  <c:v>6.4770932069510456</c:v>
                </c:pt>
                <c:pt idx="157" formatCode="0.0">
                  <c:v>5.6096610829762472</c:v>
                </c:pt>
                <c:pt idx="158" formatCode="0.0">
                  <c:v>4.9826187717265435</c:v>
                </c:pt>
                <c:pt idx="159" formatCode="0.0">
                  <c:v>4.9884881043745111</c:v>
                </c:pt>
                <c:pt idx="160" formatCode="0.0">
                  <c:v>4.4883986306580415</c:v>
                </c:pt>
                <c:pt idx="161" formatCode="General">
                  <c:v>3.8</c:v>
                </c:pt>
                <c:pt idx="162" formatCode="General">
                  <c:v>4.3</c:v>
                </c:pt>
                <c:pt idx="163" formatCode="General">
                  <c:v>4.3</c:v>
                </c:pt>
                <c:pt idx="164" formatCode="0.0">
                  <c:v>4.2</c:v>
                </c:pt>
                <c:pt idx="165" formatCode="0.0">
                  <c:v>4.4926993635342471</c:v>
                </c:pt>
                <c:pt idx="166" formatCode="0.0">
                  <c:v>4.2846497764530644</c:v>
                </c:pt>
                <c:pt idx="167" formatCode="0.0">
                  <c:v>4.2782738095238138</c:v>
                </c:pt>
                <c:pt idx="168" formatCode="0.0">
                  <c:v>4.5994065281899088</c:v>
                </c:pt>
                <c:pt idx="169" formatCode="0.0">
                  <c:v>4.5370711914422657</c:v>
                </c:pt>
                <c:pt idx="170" formatCode="0.0">
                  <c:v>4.3414275202354746</c:v>
                </c:pt>
                <c:pt idx="171" formatCode="0.0">
                  <c:v>3.983918128654973</c:v>
                </c:pt>
                <c:pt idx="172" formatCode="0.0">
                  <c:v>3.7859483072442801</c:v>
                </c:pt>
                <c:pt idx="173" formatCode="0.0">
                  <c:v>4.6198617679156229</c:v>
                </c:pt>
                <c:pt idx="174" formatCode="0.0">
                  <c:v>4.8913043478260976</c:v>
                </c:pt>
                <c:pt idx="175" formatCode="General">
                  <c:v>4.7</c:v>
                </c:pt>
                <c:pt idx="176" formatCode="General">
                  <c:v>2.9</c:v>
                </c:pt>
                <c:pt idx="177" formatCode="General">
                  <c:v>2.8</c:v>
                </c:pt>
                <c:pt idx="178" formatCode="General">
                  <c:v>2.8</c:v>
                </c:pt>
                <c:pt idx="179" formatCode="General">
                  <c:v>2.8</c:v>
                </c:pt>
                <c:pt idx="180" formatCode="General">
                  <c:v>2.4</c:v>
                </c:pt>
                <c:pt idx="181" formatCode="General">
                  <c:v>2.4</c:v>
                </c:pt>
                <c:pt idx="182" formatCode="0.0">
                  <c:v>2.8282828282828243</c:v>
                </c:pt>
                <c:pt idx="183" formatCode="0.0">
                  <c:v>3.3232628398791597</c:v>
                </c:pt>
                <c:pt idx="184" formatCode="0.0">
                  <c:v>3.51758793969849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844-4A44-B27E-CBB2340B1C4E}"/>
            </c:ext>
          </c:extLst>
        </c:ser>
        <c:ser>
          <c:idx val="2"/>
          <c:order val="2"/>
          <c:tx>
            <c:strRef>
              <c:f>'T5-6'!$F$2</c:f>
              <c:strCache>
                <c:ptCount val="1"/>
                <c:pt idx="0">
                  <c:v>target band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ash"/>
            </a:ln>
          </c:spPr>
          <c:marker>
            <c:symbol val="none"/>
          </c:marker>
          <c:cat>
            <c:strRef>
              <c:f>'T5-6'!$C$51:$C$235</c:f>
              <c:strCache>
                <c:ptCount val="185"/>
                <c:pt idx="0">
                  <c:v>2011</c:v>
                </c:pt>
                <c:pt idx="1">
                  <c:v>2011</c:v>
                </c:pt>
                <c:pt idx="2">
                  <c:v>2011</c:v>
                </c:pt>
                <c:pt idx="3">
                  <c:v>2011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1</c:v>
                </c:pt>
                <c:pt idx="9">
                  <c:v>2011</c:v>
                </c:pt>
                <c:pt idx="10">
                  <c:v>2011</c:v>
                </c:pt>
                <c:pt idx="11">
                  <c:v>2011</c:v>
                </c:pt>
                <c:pt idx="12">
                  <c:v>2012</c:v>
                </c:pt>
                <c:pt idx="13">
                  <c:v>2012</c:v>
                </c:pt>
                <c:pt idx="14">
                  <c:v>2012</c:v>
                </c:pt>
                <c:pt idx="15">
                  <c:v>2012</c:v>
                </c:pt>
                <c:pt idx="16">
                  <c:v>2012</c:v>
                </c:pt>
                <c:pt idx="17">
                  <c:v>2012</c:v>
                </c:pt>
                <c:pt idx="18">
                  <c:v>2012</c:v>
                </c:pt>
                <c:pt idx="19">
                  <c:v>2012</c:v>
                </c:pt>
                <c:pt idx="20">
                  <c:v>2012</c:v>
                </c:pt>
                <c:pt idx="21">
                  <c:v>2012</c:v>
                </c:pt>
                <c:pt idx="22">
                  <c:v>2012</c:v>
                </c:pt>
                <c:pt idx="23">
                  <c:v>2012</c:v>
                </c:pt>
                <c:pt idx="24">
                  <c:v>2013</c:v>
                </c:pt>
                <c:pt idx="25">
                  <c:v>2013</c:v>
                </c:pt>
                <c:pt idx="26">
                  <c:v>2013</c:v>
                </c:pt>
                <c:pt idx="27">
                  <c:v>2013</c:v>
                </c:pt>
                <c:pt idx="28">
                  <c:v>2013</c:v>
                </c:pt>
                <c:pt idx="29">
                  <c:v>2013</c:v>
                </c:pt>
                <c:pt idx="30">
                  <c:v>2013</c:v>
                </c:pt>
                <c:pt idx="31">
                  <c:v>2013</c:v>
                </c:pt>
                <c:pt idx="32">
                  <c:v>2013</c:v>
                </c:pt>
                <c:pt idx="33">
                  <c:v>2013</c:v>
                </c:pt>
                <c:pt idx="34">
                  <c:v>2013</c:v>
                </c:pt>
                <c:pt idx="35">
                  <c:v>2013</c:v>
                </c:pt>
                <c:pt idx="36">
                  <c:v>2014</c:v>
                </c:pt>
                <c:pt idx="37">
                  <c:v>2014</c:v>
                </c:pt>
                <c:pt idx="38">
                  <c:v>2014</c:v>
                </c:pt>
                <c:pt idx="39">
                  <c:v>2014</c:v>
                </c:pt>
                <c:pt idx="40">
                  <c:v>2014</c:v>
                </c:pt>
                <c:pt idx="41">
                  <c:v>2014</c:v>
                </c:pt>
                <c:pt idx="42">
                  <c:v>2014</c:v>
                </c:pt>
                <c:pt idx="43">
                  <c:v>2014</c:v>
                </c:pt>
                <c:pt idx="44">
                  <c:v>2014</c:v>
                </c:pt>
                <c:pt idx="45">
                  <c:v>2014</c:v>
                </c:pt>
                <c:pt idx="46">
                  <c:v>2014</c:v>
                </c:pt>
                <c:pt idx="47">
                  <c:v>2014</c:v>
                </c:pt>
                <c:pt idx="48">
                  <c:v>2015</c:v>
                </c:pt>
                <c:pt idx="49">
                  <c:v>2015</c:v>
                </c:pt>
                <c:pt idx="50">
                  <c:v>2015</c:v>
                </c:pt>
                <c:pt idx="51">
                  <c:v>2015</c:v>
                </c:pt>
                <c:pt idx="52">
                  <c:v>2015</c:v>
                </c:pt>
                <c:pt idx="53">
                  <c:v>2015</c:v>
                </c:pt>
                <c:pt idx="54">
                  <c:v>2015</c:v>
                </c:pt>
                <c:pt idx="55">
                  <c:v>2015</c:v>
                </c:pt>
                <c:pt idx="56">
                  <c:v>2015</c:v>
                </c:pt>
                <c:pt idx="57">
                  <c:v>2015</c:v>
                </c:pt>
                <c:pt idx="58">
                  <c:v>2015</c:v>
                </c:pt>
                <c:pt idx="59">
                  <c:v>2015</c:v>
                </c:pt>
                <c:pt idx="60">
                  <c:v>2016</c:v>
                </c:pt>
                <c:pt idx="61">
                  <c:v>2016</c:v>
                </c:pt>
                <c:pt idx="62">
                  <c:v>2016</c:v>
                </c:pt>
                <c:pt idx="63">
                  <c:v>2016</c:v>
                </c:pt>
                <c:pt idx="64">
                  <c:v>2016</c:v>
                </c:pt>
                <c:pt idx="65">
                  <c:v>2016</c:v>
                </c:pt>
                <c:pt idx="66">
                  <c:v>2016</c:v>
                </c:pt>
                <c:pt idx="67">
                  <c:v>2016</c:v>
                </c:pt>
                <c:pt idx="68">
                  <c:v>2016</c:v>
                </c:pt>
                <c:pt idx="69">
                  <c:v>2016</c:v>
                </c:pt>
                <c:pt idx="70">
                  <c:v>2016</c:v>
                </c:pt>
                <c:pt idx="71">
                  <c:v>2016</c:v>
                </c:pt>
                <c:pt idx="72">
                  <c:v>2017</c:v>
                </c:pt>
                <c:pt idx="73">
                  <c:v>2017</c:v>
                </c:pt>
                <c:pt idx="74">
                  <c:v>2017</c:v>
                </c:pt>
                <c:pt idx="75">
                  <c:v>2017</c:v>
                </c:pt>
                <c:pt idx="76">
                  <c:v>2017</c:v>
                </c:pt>
                <c:pt idx="77">
                  <c:v>2017</c:v>
                </c:pt>
                <c:pt idx="78">
                  <c:v>2017</c:v>
                </c:pt>
                <c:pt idx="79">
                  <c:v>2017</c:v>
                </c:pt>
                <c:pt idx="80">
                  <c:v>2017</c:v>
                </c:pt>
                <c:pt idx="81">
                  <c:v>2017</c:v>
                </c:pt>
                <c:pt idx="82">
                  <c:v>2017</c:v>
                </c:pt>
                <c:pt idx="83">
                  <c:v>2017</c:v>
                </c:pt>
                <c:pt idx="84">
                  <c:v>2018</c:v>
                </c:pt>
                <c:pt idx="85">
                  <c:v>2018</c:v>
                </c:pt>
                <c:pt idx="86">
                  <c:v>2018</c:v>
                </c:pt>
                <c:pt idx="87">
                  <c:v>2018</c:v>
                </c:pt>
                <c:pt idx="88">
                  <c:v>2018</c:v>
                </c:pt>
                <c:pt idx="89">
                  <c:v>2018</c:v>
                </c:pt>
                <c:pt idx="90">
                  <c:v>2018</c:v>
                </c:pt>
                <c:pt idx="91">
                  <c:v>2018</c:v>
                </c:pt>
                <c:pt idx="92">
                  <c:v>2018</c:v>
                </c:pt>
                <c:pt idx="93">
                  <c:v>2018</c:v>
                </c:pt>
                <c:pt idx="94">
                  <c:v>2018</c:v>
                </c:pt>
                <c:pt idx="95">
                  <c:v>2018</c:v>
                </c:pt>
                <c:pt idx="96">
                  <c:v>2019</c:v>
                </c:pt>
                <c:pt idx="97">
                  <c:v>2019</c:v>
                </c:pt>
                <c:pt idx="98">
                  <c:v>2019</c:v>
                </c:pt>
                <c:pt idx="99">
                  <c:v>2019</c:v>
                </c:pt>
                <c:pt idx="100">
                  <c:v>2019</c:v>
                </c:pt>
                <c:pt idx="101">
                  <c:v>2019</c:v>
                </c:pt>
                <c:pt idx="102">
                  <c:v>2019</c:v>
                </c:pt>
                <c:pt idx="103">
                  <c:v>2019</c:v>
                </c:pt>
                <c:pt idx="104">
                  <c:v>2019</c:v>
                </c:pt>
                <c:pt idx="105">
                  <c:v>2019</c:v>
                </c:pt>
                <c:pt idx="106">
                  <c:v>2019</c:v>
                </c:pt>
                <c:pt idx="107">
                  <c:v>2019</c:v>
                </c:pt>
                <c:pt idx="108">
                  <c:v>2020</c:v>
                </c:pt>
                <c:pt idx="109">
                  <c:v>2020</c:v>
                </c:pt>
                <c:pt idx="110">
                  <c:v>2020</c:v>
                </c:pt>
                <c:pt idx="111">
                  <c:v>2020</c:v>
                </c:pt>
                <c:pt idx="112">
                  <c:v>2020</c:v>
                </c:pt>
                <c:pt idx="113">
                  <c:v>2020</c:v>
                </c:pt>
                <c:pt idx="114">
                  <c:v>2020</c:v>
                </c:pt>
                <c:pt idx="115">
                  <c:v>2020</c:v>
                </c:pt>
                <c:pt idx="116">
                  <c:v>2020</c:v>
                </c:pt>
                <c:pt idx="117">
                  <c:v>2020</c:v>
                </c:pt>
                <c:pt idx="118">
                  <c:v>2020</c:v>
                </c:pt>
                <c:pt idx="119">
                  <c:v>2020</c:v>
                </c:pt>
                <c:pt idx="120">
                  <c:v>2021</c:v>
                </c:pt>
                <c:pt idx="121">
                  <c:v>2021</c:v>
                </c:pt>
                <c:pt idx="122">
                  <c:v>2021</c:v>
                </c:pt>
                <c:pt idx="123">
                  <c:v>2021</c:v>
                </c:pt>
                <c:pt idx="124">
                  <c:v>2021</c:v>
                </c:pt>
                <c:pt idx="125">
                  <c:v>2021</c:v>
                </c:pt>
                <c:pt idx="126">
                  <c:v>2021</c:v>
                </c:pt>
                <c:pt idx="127">
                  <c:v>2021</c:v>
                </c:pt>
                <c:pt idx="128">
                  <c:v>2021</c:v>
                </c:pt>
                <c:pt idx="129">
                  <c:v>2021</c:v>
                </c:pt>
                <c:pt idx="130">
                  <c:v>2021</c:v>
                </c:pt>
                <c:pt idx="131">
                  <c:v>2021</c:v>
                </c:pt>
                <c:pt idx="132">
                  <c:v>2022</c:v>
                </c:pt>
                <c:pt idx="133">
                  <c:v>2022</c:v>
                </c:pt>
                <c:pt idx="134">
                  <c:v>2022</c:v>
                </c:pt>
                <c:pt idx="135">
                  <c:v>2022</c:v>
                </c:pt>
                <c:pt idx="136">
                  <c:v>2022</c:v>
                </c:pt>
                <c:pt idx="137">
                  <c:v>2022</c:v>
                </c:pt>
                <c:pt idx="138">
                  <c:v>2022</c:v>
                </c:pt>
                <c:pt idx="139">
                  <c:v>2022</c:v>
                </c:pt>
                <c:pt idx="140">
                  <c:v>2022</c:v>
                </c:pt>
                <c:pt idx="141">
                  <c:v>2022</c:v>
                </c:pt>
                <c:pt idx="142">
                  <c:v>2022</c:v>
                </c:pt>
                <c:pt idx="143">
                  <c:v>2022</c:v>
                </c:pt>
                <c:pt idx="144">
                  <c:v>2023</c:v>
                </c:pt>
                <c:pt idx="145">
                  <c:v>2023</c:v>
                </c:pt>
                <c:pt idx="146">
                  <c:v>2023</c:v>
                </c:pt>
                <c:pt idx="147">
                  <c:v>2023</c:v>
                </c:pt>
                <c:pt idx="148">
                  <c:v>2023</c:v>
                </c:pt>
                <c:pt idx="149">
                  <c:v>2023</c:v>
                </c:pt>
                <c:pt idx="150">
                  <c:v>2023</c:v>
                </c:pt>
                <c:pt idx="151">
                  <c:v>2023</c:v>
                </c:pt>
                <c:pt idx="152">
                  <c:v>2023</c:v>
                </c:pt>
                <c:pt idx="153">
                  <c:v>2023</c:v>
                </c:pt>
                <c:pt idx="154">
                  <c:v>2023</c:v>
                </c:pt>
                <c:pt idx="155">
                  <c:v>2023</c:v>
                </c:pt>
                <c:pt idx="156">
                  <c:v>2024</c:v>
                </c:pt>
                <c:pt idx="157">
                  <c:v>2024</c:v>
                </c:pt>
                <c:pt idx="158">
                  <c:v>2024</c:v>
                </c:pt>
                <c:pt idx="159">
                  <c:v>2024</c:v>
                </c:pt>
                <c:pt idx="160">
                  <c:v>2024</c:v>
                </c:pt>
                <c:pt idx="161">
                  <c:v>2024</c:v>
                </c:pt>
                <c:pt idx="162">
                  <c:v>2024</c:v>
                </c:pt>
                <c:pt idx="163">
                  <c:v>2024</c:v>
                </c:pt>
                <c:pt idx="164">
                  <c:v>2024</c:v>
                </c:pt>
                <c:pt idx="165">
                  <c:v>2024</c:v>
                </c:pt>
                <c:pt idx="166">
                  <c:v>2024</c:v>
                </c:pt>
                <c:pt idx="167">
                  <c:v>2024</c:v>
                </c:pt>
                <c:pt idx="168">
                  <c:v>2025</c:v>
                </c:pt>
                <c:pt idx="169">
                  <c:v>2025</c:v>
                </c:pt>
                <c:pt idx="170">
                  <c:v>2025</c:v>
                </c:pt>
                <c:pt idx="171">
                  <c:v>2025</c:v>
                </c:pt>
                <c:pt idx="172">
                  <c:v>2025</c:v>
                </c:pt>
                <c:pt idx="173">
                  <c:v>2025</c:v>
                </c:pt>
                <c:pt idx="174">
                  <c:v>2025</c:v>
                </c:pt>
                <c:pt idx="175">
                  <c:v>2025</c:v>
                </c:pt>
                <c:pt idx="176">
                  <c:v>2025</c:v>
                </c:pt>
                <c:pt idx="177">
                  <c:v>2025</c:v>
                </c:pt>
                <c:pt idx="178">
                  <c:v>2025</c:v>
                </c:pt>
                <c:pt idx="179">
                  <c:v>2025</c:v>
                </c:pt>
                <c:pt idx="180">
                  <c:v>2026</c:v>
                </c:pt>
                <c:pt idx="181">
                  <c:v>2026</c:v>
                </c:pt>
                <c:pt idx="182">
                  <c:v>2026</c:v>
                </c:pt>
                <c:pt idx="183">
                  <c:v>2026</c:v>
                </c:pt>
                <c:pt idx="184">
                  <c:v>2026</c:v>
                </c:pt>
              </c:strCache>
            </c:strRef>
          </c:cat>
          <c:val>
            <c:numRef>
              <c:f>'T5-6'!$F$51:$F$235</c:f>
              <c:numCache>
                <c:formatCode>#,##0.0</c:formatCode>
                <c:ptCount val="185"/>
                <c:pt idx="0">
                  <c:v>3.9166666666666665</c:v>
                </c:pt>
                <c:pt idx="1">
                  <c:v>3.833333333333333</c:v>
                </c:pt>
                <c:pt idx="2">
                  <c:v>3.7499999999999996</c:v>
                </c:pt>
                <c:pt idx="3">
                  <c:v>3.6666666666666661</c:v>
                </c:pt>
                <c:pt idx="4">
                  <c:v>3.5833333333333326</c:v>
                </c:pt>
                <c:pt idx="5">
                  <c:v>3.4999999999999991</c:v>
                </c:pt>
                <c:pt idx="6">
                  <c:v>3.4166666666666656</c:v>
                </c:pt>
                <c:pt idx="7">
                  <c:v>3.3333333333333321</c:v>
                </c:pt>
                <c:pt idx="8">
                  <c:v>3.2499999999999987</c:v>
                </c:pt>
                <c:pt idx="9">
                  <c:v>3.1666666666666652</c:v>
                </c:pt>
                <c:pt idx="10">
                  <c:v>3.0833333333333317</c:v>
                </c:pt>
                <c:pt idx="11">
                  <c:v>3</c:v>
                </c:pt>
                <c:pt idx="12">
                  <c:v>2.9583333333333335</c:v>
                </c:pt>
                <c:pt idx="13">
                  <c:v>2.916666666666667</c:v>
                </c:pt>
                <c:pt idx="14">
                  <c:v>2.8750000000000004</c:v>
                </c:pt>
                <c:pt idx="15">
                  <c:v>2.8333333333333339</c:v>
                </c:pt>
                <c:pt idx="16">
                  <c:v>2.7916666666666674</c:v>
                </c:pt>
                <c:pt idx="17">
                  <c:v>2.7500000000000009</c:v>
                </c:pt>
                <c:pt idx="18">
                  <c:v>2.7083333333333344</c:v>
                </c:pt>
                <c:pt idx="19">
                  <c:v>2.6666666666666679</c:v>
                </c:pt>
                <c:pt idx="20">
                  <c:v>2.6250000000000013</c:v>
                </c:pt>
                <c:pt idx="21">
                  <c:v>2.5833333333333348</c:v>
                </c:pt>
                <c:pt idx="22">
                  <c:v>2.5416666666666683</c:v>
                </c:pt>
                <c:pt idx="23">
                  <c:v>2.5</c:v>
                </c:pt>
                <c:pt idx="24">
                  <c:v>2.5</c:v>
                </c:pt>
                <c:pt idx="25">
                  <c:v>2.5</c:v>
                </c:pt>
                <c:pt idx="26">
                  <c:v>2.5</c:v>
                </c:pt>
                <c:pt idx="27">
                  <c:v>2.5</c:v>
                </c:pt>
                <c:pt idx="28">
                  <c:v>2.5</c:v>
                </c:pt>
                <c:pt idx="29">
                  <c:v>2.5</c:v>
                </c:pt>
                <c:pt idx="30">
                  <c:v>2.5</c:v>
                </c:pt>
                <c:pt idx="31">
                  <c:v>2.5</c:v>
                </c:pt>
                <c:pt idx="32">
                  <c:v>2.5</c:v>
                </c:pt>
                <c:pt idx="33">
                  <c:v>2.5</c:v>
                </c:pt>
                <c:pt idx="34">
                  <c:v>2.5</c:v>
                </c:pt>
                <c:pt idx="35">
                  <c:v>2.5</c:v>
                </c:pt>
                <c:pt idx="36" formatCode="General">
                  <c:v>2.5</c:v>
                </c:pt>
                <c:pt idx="37">
                  <c:v>2.5</c:v>
                </c:pt>
                <c:pt idx="38">
                  <c:v>2.5</c:v>
                </c:pt>
                <c:pt idx="39">
                  <c:v>2.5</c:v>
                </c:pt>
                <c:pt idx="40">
                  <c:v>2.5</c:v>
                </c:pt>
                <c:pt idx="41">
                  <c:v>2.5</c:v>
                </c:pt>
                <c:pt idx="42">
                  <c:v>2.5</c:v>
                </c:pt>
                <c:pt idx="43" formatCode="General">
                  <c:v>2.5</c:v>
                </c:pt>
                <c:pt idx="44">
                  <c:v>2.5</c:v>
                </c:pt>
                <c:pt idx="45" formatCode="General">
                  <c:v>2.5</c:v>
                </c:pt>
                <c:pt idx="46" formatCode="General">
                  <c:v>2.5</c:v>
                </c:pt>
                <c:pt idx="47">
                  <c:v>2.5</c:v>
                </c:pt>
                <c:pt idx="48">
                  <c:v>2.5</c:v>
                </c:pt>
                <c:pt idx="49">
                  <c:v>2.5</c:v>
                </c:pt>
                <c:pt idx="50">
                  <c:v>2.5</c:v>
                </c:pt>
                <c:pt idx="51">
                  <c:v>2.5</c:v>
                </c:pt>
                <c:pt idx="52">
                  <c:v>2.5</c:v>
                </c:pt>
                <c:pt idx="53">
                  <c:v>2.5</c:v>
                </c:pt>
                <c:pt idx="54">
                  <c:v>2.5</c:v>
                </c:pt>
                <c:pt idx="55">
                  <c:v>2.5</c:v>
                </c:pt>
                <c:pt idx="56">
                  <c:v>2.5</c:v>
                </c:pt>
                <c:pt idx="57">
                  <c:v>2.5</c:v>
                </c:pt>
                <c:pt idx="58">
                  <c:v>2.5</c:v>
                </c:pt>
                <c:pt idx="59">
                  <c:v>2.5</c:v>
                </c:pt>
                <c:pt idx="60">
                  <c:v>2.5</c:v>
                </c:pt>
                <c:pt idx="61" formatCode="General">
                  <c:v>2.5</c:v>
                </c:pt>
                <c:pt idx="62" formatCode="General">
                  <c:v>2.5</c:v>
                </c:pt>
                <c:pt idx="63" formatCode="General">
                  <c:v>2.5</c:v>
                </c:pt>
                <c:pt idx="64" formatCode="General">
                  <c:v>2.5</c:v>
                </c:pt>
                <c:pt idx="65" formatCode="General">
                  <c:v>2.5</c:v>
                </c:pt>
                <c:pt idx="66" formatCode="General">
                  <c:v>2.5</c:v>
                </c:pt>
                <c:pt idx="67" formatCode="General">
                  <c:v>2.5</c:v>
                </c:pt>
                <c:pt idx="68" formatCode="General">
                  <c:v>2.5</c:v>
                </c:pt>
                <c:pt idx="69" formatCode="General">
                  <c:v>2.5</c:v>
                </c:pt>
                <c:pt idx="70" formatCode="General">
                  <c:v>2.5</c:v>
                </c:pt>
                <c:pt idx="71" formatCode="General">
                  <c:v>2.5</c:v>
                </c:pt>
                <c:pt idx="72" formatCode="General">
                  <c:v>1.5</c:v>
                </c:pt>
                <c:pt idx="73" formatCode="General">
                  <c:v>1.5</c:v>
                </c:pt>
                <c:pt idx="74" formatCode="General">
                  <c:v>1.5</c:v>
                </c:pt>
                <c:pt idx="75" formatCode="General">
                  <c:v>1.5</c:v>
                </c:pt>
                <c:pt idx="76" formatCode="General">
                  <c:v>1.5</c:v>
                </c:pt>
                <c:pt idx="77" formatCode="General">
                  <c:v>1.5</c:v>
                </c:pt>
                <c:pt idx="78" formatCode="General">
                  <c:v>1.5</c:v>
                </c:pt>
                <c:pt idx="79" formatCode="General">
                  <c:v>1.5</c:v>
                </c:pt>
                <c:pt idx="80" formatCode="General">
                  <c:v>1.5</c:v>
                </c:pt>
                <c:pt idx="81" formatCode="General">
                  <c:v>1.5</c:v>
                </c:pt>
                <c:pt idx="82" formatCode="General">
                  <c:v>1.5</c:v>
                </c:pt>
                <c:pt idx="83" formatCode="General">
                  <c:v>1.5</c:v>
                </c:pt>
                <c:pt idx="84" formatCode="General">
                  <c:v>1.5</c:v>
                </c:pt>
                <c:pt idx="85" formatCode="General">
                  <c:v>1.5</c:v>
                </c:pt>
                <c:pt idx="86" formatCode="General">
                  <c:v>1.5</c:v>
                </c:pt>
                <c:pt idx="87" formatCode="General">
                  <c:v>1.5</c:v>
                </c:pt>
                <c:pt idx="88" formatCode="General">
                  <c:v>1.5</c:v>
                </c:pt>
                <c:pt idx="89" formatCode="General">
                  <c:v>1.5</c:v>
                </c:pt>
                <c:pt idx="90" formatCode="General">
                  <c:v>1.5</c:v>
                </c:pt>
                <c:pt idx="91" formatCode="General">
                  <c:v>1.5</c:v>
                </c:pt>
                <c:pt idx="92" formatCode="General">
                  <c:v>1.5</c:v>
                </c:pt>
                <c:pt idx="93" formatCode="General">
                  <c:v>1.5</c:v>
                </c:pt>
                <c:pt idx="94" formatCode="General">
                  <c:v>1.5</c:v>
                </c:pt>
                <c:pt idx="95" formatCode="General">
                  <c:v>1.5</c:v>
                </c:pt>
                <c:pt idx="96" formatCode="General">
                  <c:v>1.5</c:v>
                </c:pt>
                <c:pt idx="97" formatCode="General">
                  <c:v>1.5</c:v>
                </c:pt>
                <c:pt idx="98" formatCode="General">
                  <c:v>1.5</c:v>
                </c:pt>
                <c:pt idx="99" formatCode="General">
                  <c:v>1.5</c:v>
                </c:pt>
                <c:pt idx="100" formatCode="General">
                  <c:v>1.5</c:v>
                </c:pt>
                <c:pt idx="101" formatCode="General">
                  <c:v>1.5</c:v>
                </c:pt>
                <c:pt idx="102" formatCode="General">
                  <c:v>1.5</c:v>
                </c:pt>
                <c:pt idx="103" formatCode="General">
                  <c:v>1.5</c:v>
                </c:pt>
                <c:pt idx="104" formatCode="General">
                  <c:v>1.5</c:v>
                </c:pt>
                <c:pt idx="105" formatCode="General">
                  <c:v>1.5</c:v>
                </c:pt>
                <c:pt idx="106" formatCode="General">
                  <c:v>1.5</c:v>
                </c:pt>
                <c:pt idx="107" formatCode="General">
                  <c:v>1.5</c:v>
                </c:pt>
                <c:pt idx="108" formatCode="General">
                  <c:v>1.5</c:v>
                </c:pt>
                <c:pt idx="109" formatCode="General">
                  <c:v>1.5</c:v>
                </c:pt>
                <c:pt idx="110" formatCode="General">
                  <c:v>1.5</c:v>
                </c:pt>
                <c:pt idx="111" formatCode="General">
                  <c:v>1.5</c:v>
                </c:pt>
                <c:pt idx="112" formatCode="General">
                  <c:v>1.5</c:v>
                </c:pt>
                <c:pt idx="113" formatCode="General">
                  <c:v>1.5</c:v>
                </c:pt>
                <c:pt idx="114" formatCode="General">
                  <c:v>1.5</c:v>
                </c:pt>
                <c:pt idx="115" formatCode="General">
                  <c:v>1.5</c:v>
                </c:pt>
                <c:pt idx="116" formatCode="General">
                  <c:v>1.5</c:v>
                </c:pt>
                <c:pt idx="117" formatCode="General">
                  <c:v>1.5</c:v>
                </c:pt>
                <c:pt idx="118" formatCode="General">
                  <c:v>1.5</c:v>
                </c:pt>
                <c:pt idx="119" formatCode="General">
                  <c:v>1.5</c:v>
                </c:pt>
                <c:pt idx="120" formatCode="General">
                  <c:v>1.5</c:v>
                </c:pt>
                <c:pt idx="121" formatCode="0.0">
                  <c:v>1.5</c:v>
                </c:pt>
                <c:pt idx="122" formatCode="0.0">
                  <c:v>1.5</c:v>
                </c:pt>
                <c:pt idx="123" formatCode="0.0">
                  <c:v>1.5</c:v>
                </c:pt>
                <c:pt idx="124" formatCode="0.0">
                  <c:v>1.5</c:v>
                </c:pt>
                <c:pt idx="125" formatCode="0.0">
                  <c:v>1.5</c:v>
                </c:pt>
                <c:pt idx="126" formatCode="0.0">
                  <c:v>1.5</c:v>
                </c:pt>
                <c:pt idx="127" formatCode="0.0">
                  <c:v>1.5</c:v>
                </c:pt>
                <c:pt idx="128" formatCode="0.0">
                  <c:v>1.5</c:v>
                </c:pt>
                <c:pt idx="129" formatCode="0.0">
                  <c:v>1.5</c:v>
                </c:pt>
                <c:pt idx="130" formatCode="0.0">
                  <c:v>1.5</c:v>
                </c:pt>
                <c:pt idx="131" formatCode="General">
                  <c:v>1.5</c:v>
                </c:pt>
                <c:pt idx="132" formatCode="General">
                  <c:v>1.5</c:v>
                </c:pt>
                <c:pt idx="133" formatCode="General">
                  <c:v>1.5</c:v>
                </c:pt>
                <c:pt idx="134" formatCode="General">
                  <c:v>1.5</c:v>
                </c:pt>
                <c:pt idx="135" formatCode="General">
                  <c:v>1.5</c:v>
                </c:pt>
                <c:pt idx="136" formatCode="General">
                  <c:v>1.5</c:v>
                </c:pt>
                <c:pt idx="137" formatCode="General">
                  <c:v>1.5</c:v>
                </c:pt>
                <c:pt idx="138" formatCode="General">
                  <c:v>1.5</c:v>
                </c:pt>
                <c:pt idx="139" formatCode="General">
                  <c:v>1.5</c:v>
                </c:pt>
                <c:pt idx="140" formatCode="General">
                  <c:v>1.5</c:v>
                </c:pt>
                <c:pt idx="141" formatCode="General">
                  <c:v>1.5</c:v>
                </c:pt>
                <c:pt idx="142" formatCode="General">
                  <c:v>1.5</c:v>
                </c:pt>
                <c:pt idx="143" formatCode="General">
                  <c:v>1.5</c:v>
                </c:pt>
                <c:pt idx="144" formatCode="General">
                  <c:v>1.5</c:v>
                </c:pt>
                <c:pt idx="145" formatCode="General">
                  <c:v>1.5</c:v>
                </c:pt>
                <c:pt idx="146" formatCode="General">
                  <c:v>1.5</c:v>
                </c:pt>
                <c:pt idx="147" formatCode="General">
                  <c:v>1.5</c:v>
                </c:pt>
                <c:pt idx="148" formatCode="General">
                  <c:v>1.5</c:v>
                </c:pt>
                <c:pt idx="149" formatCode="General">
                  <c:v>1.5</c:v>
                </c:pt>
                <c:pt idx="150" formatCode="General">
                  <c:v>1.5</c:v>
                </c:pt>
                <c:pt idx="151" formatCode="General">
                  <c:v>1.5</c:v>
                </c:pt>
                <c:pt idx="152" formatCode="General">
                  <c:v>1.5</c:v>
                </c:pt>
                <c:pt idx="153" formatCode="General">
                  <c:v>1.5</c:v>
                </c:pt>
                <c:pt idx="154" formatCode="General">
                  <c:v>1.5</c:v>
                </c:pt>
                <c:pt idx="155" formatCode="General">
                  <c:v>1.5</c:v>
                </c:pt>
                <c:pt idx="156" formatCode="General">
                  <c:v>1.5</c:v>
                </c:pt>
                <c:pt idx="157" formatCode="General">
                  <c:v>1.5</c:v>
                </c:pt>
                <c:pt idx="158" formatCode="General">
                  <c:v>1.5</c:v>
                </c:pt>
                <c:pt idx="159" formatCode="General">
                  <c:v>1.5</c:v>
                </c:pt>
                <c:pt idx="160" formatCode="General">
                  <c:v>1.5</c:v>
                </c:pt>
                <c:pt idx="161" formatCode="General">
                  <c:v>1.5</c:v>
                </c:pt>
                <c:pt idx="162" formatCode="General">
                  <c:v>1.5</c:v>
                </c:pt>
                <c:pt idx="163" formatCode="General">
                  <c:v>1.5</c:v>
                </c:pt>
                <c:pt idx="164" formatCode="General">
                  <c:v>1.5</c:v>
                </c:pt>
                <c:pt idx="165" formatCode="General">
                  <c:v>1.5</c:v>
                </c:pt>
                <c:pt idx="166" formatCode="General">
                  <c:v>1.5</c:v>
                </c:pt>
                <c:pt idx="167" formatCode="General">
                  <c:v>1.5</c:v>
                </c:pt>
                <c:pt idx="168" formatCode="General">
                  <c:v>1.5</c:v>
                </c:pt>
                <c:pt idx="169" formatCode="General">
                  <c:v>1.5</c:v>
                </c:pt>
                <c:pt idx="170" formatCode="General">
                  <c:v>1.5</c:v>
                </c:pt>
                <c:pt idx="171" formatCode="General">
                  <c:v>1.5</c:v>
                </c:pt>
                <c:pt idx="172" formatCode="General">
                  <c:v>1.5</c:v>
                </c:pt>
                <c:pt idx="173" formatCode="General">
                  <c:v>1.5</c:v>
                </c:pt>
                <c:pt idx="174" formatCode="General">
                  <c:v>1.5</c:v>
                </c:pt>
                <c:pt idx="175" formatCode="General">
                  <c:v>1.5</c:v>
                </c:pt>
                <c:pt idx="176" formatCode="General">
                  <c:v>1.5</c:v>
                </c:pt>
                <c:pt idx="177" formatCode="General">
                  <c:v>1.5</c:v>
                </c:pt>
                <c:pt idx="178" formatCode="General">
                  <c:v>1.5</c:v>
                </c:pt>
                <c:pt idx="179" formatCode="General">
                  <c:v>1.5</c:v>
                </c:pt>
                <c:pt idx="180" formatCode="General">
                  <c:v>1.5</c:v>
                </c:pt>
                <c:pt idx="181" formatCode="General">
                  <c:v>1.5</c:v>
                </c:pt>
                <c:pt idx="182" formatCode="General">
                  <c:v>1.5</c:v>
                </c:pt>
                <c:pt idx="183" formatCode="General">
                  <c:v>1.5</c:v>
                </c:pt>
                <c:pt idx="184" formatCode="General">
                  <c:v>1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844-4A44-B27E-CBB2340B1C4E}"/>
            </c:ext>
          </c:extLst>
        </c:ser>
        <c:ser>
          <c:idx val="3"/>
          <c:order val="3"/>
          <c:tx>
            <c:strRef>
              <c:f>'T5-6'!$G$2</c:f>
              <c:strCache>
                <c:ptCount val="1"/>
              </c:strCache>
            </c:strRef>
          </c:tx>
          <c:spPr>
            <a:ln w="19050">
              <a:solidFill>
                <a:schemeClr val="tx1"/>
              </a:solidFill>
              <a:prstDash val="sysDash"/>
            </a:ln>
          </c:spPr>
          <c:marker>
            <c:symbol val="none"/>
          </c:marker>
          <c:cat>
            <c:strRef>
              <c:f>'T5-6'!$C$51:$C$235</c:f>
              <c:strCache>
                <c:ptCount val="185"/>
                <c:pt idx="0">
                  <c:v>2011</c:v>
                </c:pt>
                <c:pt idx="1">
                  <c:v>2011</c:v>
                </c:pt>
                <c:pt idx="2">
                  <c:v>2011</c:v>
                </c:pt>
                <c:pt idx="3">
                  <c:v>2011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1</c:v>
                </c:pt>
                <c:pt idx="9">
                  <c:v>2011</c:v>
                </c:pt>
                <c:pt idx="10">
                  <c:v>2011</c:v>
                </c:pt>
                <c:pt idx="11">
                  <c:v>2011</c:v>
                </c:pt>
                <c:pt idx="12">
                  <c:v>2012</c:v>
                </c:pt>
                <c:pt idx="13">
                  <c:v>2012</c:v>
                </c:pt>
                <c:pt idx="14">
                  <c:v>2012</c:v>
                </c:pt>
                <c:pt idx="15">
                  <c:v>2012</c:v>
                </c:pt>
                <c:pt idx="16">
                  <c:v>2012</c:v>
                </c:pt>
                <c:pt idx="17">
                  <c:v>2012</c:v>
                </c:pt>
                <c:pt idx="18">
                  <c:v>2012</c:v>
                </c:pt>
                <c:pt idx="19">
                  <c:v>2012</c:v>
                </c:pt>
                <c:pt idx="20">
                  <c:v>2012</c:v>
                </c:pt>
                <c:pt idx="21">
                  <c:v>2012</c:v>
                </c:pt>
                <c:pt idx="22">
                  <c:v>2012</c:v>
                </c:pt>
                <c:pt idx="23">
                  <c:v>2012</c:v>
                </c:pt>
                <c:pt idx="24">
                  <c:v>2013</c:v>
                </c:pt>
                <c:pt idx="25">
                  <c:v>2013</c:v>
                </c:pt>
                <c:pt idx="26">
                  <c:v>2013</c:v>
                </c:pt>
                <c:pt idx="27">
                  <c:v>2013</c:v>
                </c:pt>
                <c:pt idx="28">
                  <c:v>2013</c:v>
                </c:pt>
                <c:pt idx="29">
                  <c:v>2013</c:v>
                </c:pt>
                <c:pt idx="30">
                  <c:v>2013</c:v>
                </c:pt>
                <c:pt idx="31">
                  <c:v>2013</c:v>
                </c:pt>
                <c:pt idx="32">
                  <c:v>2013</c:v>
                </c:pt>
                <c:pt idx="33">
                  <c:v>2013</c:v>
                </c:pt>
                <c:pt idx="34">
                  <c:v>2013</c:v>
                </c:pt>
                <c:pt idx="35">
                  <c:v>2013</c:v>
                </c:pt>
                <c:pt idx="36">
                  <c:v>2014</c:v>
                </c:pt>
                <c:pt idx="37">
                  <c:v>2014</c:v>
                </c:pt>
                <c:pt idx="38">
                  <c:v>2014</c:v>
                </c:pt>
                <c:pt idx="39">
                  <c:v>2014</c:v>
                </c:pt>
                <c:pt idx="40">
                  <c:v>2014</c:v>
                </c:pt>
                <c:pt idx="41">
                  <c:v>2014</c:v>
                </c:pt>
                <c:pt idx="42">
                  <c:v>2014</c:v>
                </c:pt>
                <c:pt idx="43">
                  <c:v>2014</c:v>
                </c:pt>
                <c:pt idx="44">
                  <c:v>2014</c:v>
                </c:pt>
                <c:pt idx="45">
                  <c:v>2014</c:v>
                </c:pt>
                <c:pt idx="46">
                  <c:v>2014</c:v>
                </c:pt>
                <c:pt idx="47">
                  <c:v>2014</c:v>
                </c:pt>
                <c:pt idx="48">
                  <c:v>2015</c:v>
                </c:pt>
                <c:pt idx="49">
                  <c:v>2015</c:v>
                </c:pt>
                <c:pt idx="50">
                  <c:v>2015</c:v>
                </c:pt>
                <c:pt idx="51">
                  <c:v>2015</c:v>
                </c:pt>
                <c:pt idx="52">
                  <c:v>2015</c:v>
                </c:pt>
                <c:pt idx="53">
                  <c:v>2015</c:v>
                </c:pt>
                <c:pt idx="54">
                  <c:v>2015</c:v>
                </c:pt>
                <c:pt idx="55">
                  <c:v>2015</c:v>
                </c:pt>
                <c:pt idx="56">
                  <c:v>2015</c:v>
                </c:pt>
                <c:pt idx="57">
                  <c:v>2015</c:v>
                </c:pt>
                <c:pt idx="58">
                  <c:v>2015</c:v>
                </c:pt>
                <c:pt idx="59">
                  <c:v>2015</c:v>
                </c:pt>
                <c:pt idx="60">
                  <c:v>2016</c:v>
                </c:pt>
                <c:pt idx="61">
                  <c:v>2016</c:v>
                </c:pt>
                <c:pt idx="62">
                  <c:v>2016</c:v>
                </c:pt>
                <c:pt idx="63">
                  <c:v>2016</c:v>
                </c:pt>
                <c:pt idx="64">
                  <c:v>2016</c:v>
                </c:pt>
                <c:pt idx="65">
                  <c:v>2016</c:v>
                </c:pt>
                <c:pt idx="66">
                  <c:v>2016</c:v>
                </c:pt>
                <c:pt idx="67">
                  <c:v>2016</c:v>
                </c:pt>
                <c:pt idx="68">
                  <c:v>2016</c:v>
                </c:pt>
                <c:pt idx="69">
                  <c:v>2016</c:v>
                </c:pt>
                <c:pt idx="70">
                  <c:v>2016</c:v>
                </c:pt>
                <c:pt idx="71">
                  <c:v>2016</c:v>
                </c:pt>
                <c:pt idx="72">
                  <c:v>2017</c:v>
                </c:pt>
                <c:pt idx="73">
                  <c:v>2017</c:v>
                </c:pt>
                <c:pt idx="74">
                  <c:v>2017</c:v>
                </c:pt>
                <c:pt idx="75">
                  <c:v>2017</c:v>
                </c:pt>
                <c:pt idx="76">
                  <c:v>2017</c:v>
                </c:pt>
                <c:pt idx="77">
                  <c:v>2017</c:v>
                </c:pt>
                <c:pt idx="78">
                  <c:v>2017</c:v>
                </c:pt>
                <c:pt idx="79">
                  <c:v>2017</c:v>
                </c:pt>
                <c:pt idx="80">
                  <c:v>2017</c:v>
                </c:pt>
                <c:pt idx="81">
                  <c:v>2017</c:v>
                </c:pt>
                <c:pt idx="82">
                  <c:v>2017</c:v>
                </c:pt>
                <c:pt idx="83">
                  <c:v>2017</c:v>
                </c:pt>
                <c:pt idx="84">
                  <c:v>2018</c:v>
                </c:pt>
                <c:pt idx="85">
                  <c:v>2018</c:v>
                </c:pt>
                <c:pt idx="86">
                  <c:v>2018</c:v>
                </c:pt>
                <c:pt idx="87">
                  <c:v>2018</c:v>
                </c:pt>
                <c:pt idx="88">
                  <c:v>2018</c:v>
                </c:pt>
                <c:pt idx="89">
                  <c:v>2018</c:v>
                </c:pt>
                <c:pt idx="90">
                  <c:v>2018</c:v>
                </c:pt>
                <c:pt idx="91">
                  <c:v>2018</c:v>
                </c:pt>
                <c:pt idx="92">
                  <c:v>2018</c:v>
                </c:pt>
                <c:pt idx="93">
                  <c:v>2018</c:v>
                </c:pt>
                <c:pt idx="94">
                  <c:v>2018</c:v>
                </c:pt>
                <c:pt idx="95">
                  <c:v>2018</c:v>
                </c:pt>
                <c:pt idx="96">
                  <c:v>2019</c:v>
                </c:pt>
                <c:pt idx="97">
                  <c:v>2019</c:v>
                </c:pt>
                <c:pt idx="98">
                  <c:v>2019</c:v>
                </c:pt>
                <c:pt idx="99">
                  <c:v>2019</c:v>
                </c:pt>
                <c:pt idx="100">
                  <c:v>2019</c:v>
                </c:pt>
                <c:pt idx="101">
                  <c:v>2019</c:v>
                </c:pt>
                <c:pt idx="102">
                  <c:v>2019</c:v>
                </c:pt>
                <c:pt idx="103">
                  <c:v>2019</c:v>
                </c:pt>
                <c:pt idx="104">
                  <c:v>2019</c:v>
                </c:pt>
                <c:pt idx="105">
                  <c:v>2019</c:v>
                </c:pt>
                <c:pt idx="106">
                  <c:v>2019</c:v>
                </c:pt>
                <c:pt idx="107">
                  <c:v>2019</c:v>
                </c:pt>
                <c:pt idx="108">
                  <c:v>2020</c:v>
                </c:pt>
                <c:pt idx="109">
                  <c:v>2020</c:v>
                </c:pt>
                <c:pt idx="110">
                  <c:v>2020</c:v>
                </c:pt>
                <c:pt idx="111">
                  <c:v>2020</c:v>
                </c:pt>
                <c:pt idx="112">
                  <c:v>2020</c:v>
                </c:pt>
                <c:pt idx="113">
                  <c:v>2020</c:v>
                </c:pt>
                <c:pt idx="114">
                  <c:v>2020</c:v>
                </c:pt>
                <c:pt idx="115">
                  <c:v>2020</c:v>
                </c:pt>
                <c:pt idx="116">
                  <c:v>2020</c:v>
                </c:pt>
                <c:pt idx="117">
                  <c:v>2020</c:v>
                </c:pt>
                <c:pt idx="118">
                  <c:v>2020</c:v>
                </c:pt>
                <c:pt idx="119">
                  <c:v>2020</c:v>
                </c:pt>
                <c:pt idx="120">
                  <c:v>2021</c:v>
                </c:pt>
                <c:pt idx="121">
                  <c:v>2021</c:v>
                </c:pt>
                <c:pt idx="122">
                  <c:v>2021</c:v>
                </c:pt>
                <c:pt idx="123">
                  <c:v>2021</c:v>
                </c:pt>
                <c:pt idx="124">
                  <c:v>2021</c:v>
                </c:pt>
                <c:pt idx="125">
                  <c:v>2021</c:v>
                </c:pt>
                <c:pt idx="126">
                  <c:v>2021</c:v>
                </c:pt>
                <c:pt idx="127">
                  <c:v>2021</c:v>
                </c:pt>
                <c:pt idx="128">
                  <c:v>2021</c:v>
                </c:pt>
                <c:pt idx="129">
                  <c:v>2021</c:v>
                </c:pt>
                <c:pt idx="130">
                  <c:v>2021</c:v>
                </c:pt>
                <c:pt idx="131">
                  <c:v>2021</c:v>
                </c:pt>
                <c:pt idx="132">
                  <c:v>2022</c:v>
                </c:pt>
                <c:pt idx="133">
                  <c:v>2022</c:v>
                </c:pt>
                <c:pt idx="134">
                  <c:v>2022</c:v>
                </c:pt>
                <c:pt idx="135">
                  <c:v>2022</c:v>
                </c:pt>
                <c:pt idx="136">
                  <c:v>2022</c:v>
                </c:pt>
                <c:pt idx="137">
                  <c:v>2022</c:v>
                </c:pt>
                <c:pt idx="138">
                  <c:v>2022</c:v>
                </c:pt>
                <c:pt idx="139">
                  <c:v>2022</c:v>
                </c:pt>
                <c:pt idx="140">
                  <c:v>2022</c:v>
                </c:pt>
                <c:pt idx="141">
                  <c:v>2022</c:v>
                </c:pt>
                <c:pt idx="142">
                  <c:v>2022</c:v>
                </c:pt>
                <c:pt idx="143">
                  <c:v>2022</c:v>
                </c:pt>
                <c:pt idx="144">
                  <c:v>2023</c:v>
                </c:pt>
                <c:pt idx="145">
                  <c:v>2023</c:v>
                </c:pt>
                <c:pt idx="146">
                  <c:v>2023</c:v>
                </c:pt>
                <c:pt idx="147">
                  <c:v>2023</c:v>
                </c:pt>
                <c:pt idx="148">
                  <c:v>2023</c:v>
                </c:pt>
                <c:pt idx="149">
                  <c:v>2023</c:v>
                </c:pt>
                <c:pt idx="150">
                  <c:v>2023</c:v>
                </c:pt>
                <c:pt idx="151">
                  <c:v>2023</c:v>
                </c:pt>
                <c:pt idx="152">
                  <c:v>2023</c:v>
                </c:pt>
                <c:pt idx="153">
                  <c:v>2023</c:v>
                </c:pt>
                <c:pt idx="154">
                  <c:v>2023</c:v>
                </c:pt>
                <c:pt idx="155">
                  <c:v>2023</c:v>
                </c:pt>
                <c:pt idx="156">
                  <c:v>2024</c:v>
                </c:pt>
                <c:pt idx="157">
                  <c:v>2024</c:v>
                </c:pt>
                <c:pt idx="158">
                  <c:v>2024</c:v>
                </c:pt>
                <c:pt idx="159">
                  <c:v>2024</c:v>
                </c:pt>
                <c:pt idx="160">
                  <c:v>2024</c:v>
                </c:pt>
                <c:pt idx="161">
                  <c:v>2024</c:v>
                </c:pt>
                <c:pt idx="162">
                  <c:v>2024</c:v>
                </c:pt>
                <c:pt idx="163">
                  <c:v>2024</c:v>
                </c:pt>
                <c:pt idx="164">
                  <c:v>2024</c:v>
                </c:pt>
                <c:pt idx="165">
                  <c:v>2024</c:v>
                </c:pt>
                <c:pt idx="166">
                  <c:v>2024</c:v>
                </c:pt>
                <c:pt idx="167">
                  <c:v>2024</c:v>
                </c:pt>
                <c:pt idx="168">
                  <c:v>2025</c:v>
                </c:pt>
                <c:pt idx="169">
                  <c:v>2025</c:v>
                </c:pt>
                <c:pt idx="170">
                  <c:v>2025</c:v>
                </c:pt>
                <c:pt idx="171">
                  <c:v>2025</c:v>
                </c:pt>
                <c:pt idx="172">
                  <c:v>2025</c:v>
                </c:pt>
                <c:pt idx="173">
                  <c:v>2025</c:v>
                </c:pt>
                <c:pt idx="174">
                  <c:v>2025</c:v>
                </c:pt>
                <c:pt idx="175">
                  <c:v>2025</c:v>
                </c:pt>
                <c:pt idx="176">
                  <c:v>2025</c:v>
                </c:pt>
                <c:pt idx="177">
                  <c:v>2025</c:v>
                </c:pt>
                <c:pt idx="178">
                  <c:v>2025</c:v>
                </c:pt>
                <c:pt idx="179">
                  <c:v>2025</c:v>
                </c:pt>
                <c:pt idx="180">
                  <c:v>2026</c:v>
                </c:pt>
                <c:pt idx="181">
                  <c:v>2026</c:v>
                </c:pt>
                <c:pt idx="182">
                  <c:v>2026</c:v>
                </c:pt>
                <c:pt idx="183">
                  <c:v>2026</c:v>
                </c:pt>
                <c:pt idx="184">
                  <c:v>2026</c:v>
                </c:pt>
              </c:strCache>
            </c:strRef>
          </c:cat>
          <c:val>
            <c:numRef>
              <c:f>'T5-6'!$G$51:$G$235</c:f>
              <c:numCache>
                <c:formatCode>#,##0.0</c:formatCode>
                <c:ptCount val="185"/>
                <c:pt idx="0">
                  <c:v>7.833333333333333</c:v>
                </c:pt>
                <c:pt idx="1">
                  <c:v>7.6666666666666661</c:v>
                </c:pt>
                <c:pt idx="2">
                  <c:v>7.4999999999999991</c:v>
                </c:pt>
                <c:pt idx="3">
                  <c:v>7.3333333333333321</c:v>
                </c:pt>
                <c:pt idx="4">
                  <c:v>7.1666666666666652</c:v>
                </c:pt>
                <c:pt idx="5">
                  <c:v>6.9999999999999982</c:v>
                </c:pt>
                <c:pt idx="6">
                  <c:v>6.8333333333333313</c:v>
                </c:pt>
                <c:pt idx="7">
                  <c:v>6.6666666666666643</c:v>
                </c:pt>
                <c:pt idx="8">
                  <c:v>6.4999999999999973</c:v>
                </c:pt>
                <c:pt idx="9">
                  <c:v>6.3333333333333304</c:v>
                </c:pt>
                <c:pt idx="10">
                  <c:v>6.1666666666666634</c:v>
                </c:pt>
                <c:pt idx="11">
                  <c:v>6</c:v>
                </c:pt>
                <c:pt idx="12">
                  <c:v>5.958333333333333</c:v>
                </c:pt>
                <c:pt idx="13">
                  <c:v>5.9166666666666661</c:v>
                </c:pt>
                <c:pt idx="14">
                  <c:v>5.8749999999999991</c:v>
                </c:pt>
                <c:pt idx="15">
                  <c:v>5.8333333333333321</c:v>
                </c:pt>
                <c:pt idx="16">
                  <c:v>5.7916666666666652</c:v>
                </c:pt>
                <c:pt idx="17">
                  <c:v>5.7499999999999982</c:v>
                </c:pt>
                <c:pt idx="18">
                  <c:v>5.7083333333333313</c:v>
                </c:pt>
                <c:pt idx="19">
                  <c:v>5.6666666666666643</c:v>
                </c:pt>
                <c:pt idx="20">
                  <c:v>5.6249999999999973</c:v>
                </c:pt>
                <c:pt idx="21">
                  <c:v>5.5833333333333304</c:v>
                </c:pt>
                <c:pt idx="22">
                  <c:v>5.5416666666666634</c:v>
                </c:pt>
                <c:pt idx="23">
                  <c:v>5.5</c:v>
                </c:pt>
                <c:pt idx="24">
                  <c:v>5.5</c:v>
                </c:pt>
                <c:pt idx="25">
                  <c:v>5.5</c:v>
                </c:pt>
                <c:pt idx="26">
                  <c:v>5.5</c:v>
                </c:pt>
                <c:pt idx="27">
                  <c:v>5.5</c:v>
                </c:pt>
                <c:pt idx="28">
                  <c:v>5.5</c:v>
                </c:pt>
                <c:pt idx="29">
                  <c:v>5.5</c:v>
                </c:pt>
                <c:pt idx="30">
                  <c:v>5.5</c:v>
                </c:pt>
                <c:pt idx="31">
                  <c:v>5.5</c:v>
                </c:pt>
                <c:pt idx="32">
                  <c:v>5.5</c:v>
                </c:pt>
                <c:pt idx="33">
                  <c:v>5.5</c:v>
                </c:pt>
                <c:pt idx="34">
                  <c:v>5.5</c:v>
                </c:pt>
                <c:pt idx="35">
                  <c:v>5.5</c:v>
                </c:pt>
                <c:pt idx="36" formatCode="General">
                  <c:v>5.5</c:v>
                </c:pt>
                <c:pt idx="37">
                  <c:v>5.5</c:v>
                </c:pt>
                <c:pt idx="38">
                  <c:v>5.5</c:v>
                </c:pt>
                <c:pt idx="39">
                  <c:v>5.5</c:v>
                </c:pt>
                <c:pt idx="40">
                  <c:v>5.5</c:v>
                </c:pt>
                <c:pt idx="41">
                  <c:v>5.5</c:v>
                </c:pt>
                <c:pt idx="42">
                  <c:v>5.5</c:v>
                </c:pt>
                <c:pt idx="43" formatCode="General">
                  <c:v>5.5</c:v>
                </c:pt>
                <c:pt idx="44">
                  <c:v>5.5</c:v>
                </c:pt>
                <c:pt idx="45" formatCode="General">
                  <c:v>5.5</c:v>
                </c:pt>
                <c:pt idx="46" formatCode="General">
                  <c:v>5.5</c:v>
                </c:pt>
                <c:pt idx="47">
                  <c:v>5.5</c:v>
                </c:pt>
                <c:pt idx="48">
                  <c:v>5.5</c:v>
                </c:pt>
                <c:pt idx="49">
                  <c:v>5.5</c:v>
                </c:pt>
                <c:pt idx="50">
                  <c:v>5.5</c:v>
                </c:pt>
                <c:pt idx="51">
                  <c:v>5.5</c:v>
                </c:pt>
                <c:pt idx="52">
                  <c:v>5.5</c:v>
                </c:pt>
                <c:pt idx="53">
                  <c:v>5.5</c:v>
                </c:pt>
                <c:pt idx="54">
                  <c:v>5.5</c:v>
                </c:pt>
                <c:pt idx="55">
                  <c:v>5.5</c:v>
                </c:pt>
                <c:pt idx="56">
                  <c:v>5.5</c:v>
                </c:pt>
                <c:pt idx="57">
                  <c:v>5.5</c:v>
                </c:pt>
                <c:pt idx="58">
                  <c:v>5.5</c:v>
                </c:pt>
                <c:pt idx="59">
                  <c:v>5.5</c:v>
                </c:pt>
                <c:pt idx="60">
                  <c:v>5.5</c:v>
                </c:pt>
                <c:pt idx="61" formatCode="General">
                  <c:v>5.5</c:v>
                </c:pt>
                <c:pt idx="62" formatCode="General">
                  <c:v>5.5</c:v>
                </c:pt>
                <c:pt idx="63" formatCode="General">
                  <c:v>5.5</c:v>
                </c:pt>
                <c:pt idx="64" formatCode="General">
                  <c:v>5.5</c:v>
                </c:pt>
                <c:pt idx="65" formatCode="General">
                  <c:v>5.5</c:v>
                </c:pt>
                <c:pt idx="66" formatCode="General">
                  <c:v>5.5</c:v>
                </c:pt>
                <c:pt idx="67" formatCode="General">
                  <c:v>5.5</c:v>
                </c:pt>
                <c:pt idx="68" formatCode="General">
                  <c:v>5.5</c:v>
                </c:pt>
                <c:pt idx="69" formatCode="General">
                  <c:v>5.5</c:v>
                </c:pt>
                <c:pt idx="70" formatCode="General">
                  <c:v>5.5</c:v>
                </c:pt>
                <c:pt idx="71" formatCode="General">
                  <c:v>5.5</c:v>
                </c:pt>
                <c:pt idx="72" formatCode="General">
                  <c:v>4.5</c:v>
                </c:pt>
                <c:pt idx="73" formatCode="General">
                  <c:v>4.5</c:v>
                </c:pt>
                <c:pt idx="74" formatCode="General">
                  <c:v>4.5</c:v>
                </c:pt>
                <c:pt idx="75" formatCode="General">
                  <c:v>4.5</c:v>
                </c:pt>
                <c:pt idx="76" formatCode="General">
                  <c:v>4.5</c:v>
                </c:pt>
                <c:pt idx="77" formatCode="General">
                  <c:v>4.5</c:v>
                </c:pt>
                <c:pt idx="78" formatCode="General">
                  <c:v>4.5</c:v>
                </c:pt>
                <c:pt idx="79" formatCode="General">
                  <c:v>4.5</c:v>
                </c:pt>
                <c:pt idx="80" formatCode="General">
                  <c:v>4.5</c:v>
                </c:pt>
                <c:pt idx="81" formatCode="General">
                  <c:v>4.5</c:v>
                </c:pt>
                <c:pt idx="82" formatCode="General">
                  <c:v>4.5</c:v>
                </c:pt>
                <c:pt idx="83" formatCode="General">
                  <c:v>4.5</c:v>
                </c:pt>
                <c:pt idx="84" formatCode="General">
                  <c:v>4.5</c:v>
                </c:pt>
                <c:pt idx="85" formatCode="General">
                  <c:v>4.5</c:v>
                </c:pt>
                <c:pt idx="86" formatCode="General">
                  <c:v>4.5</c:v>
                </c:pt>
                <c:pt idx="87" formatCode="General">
                  <c:v>4.5</c:v>
                </c:pt>
                <c:pt idx="88" formatCode="General">
                  <c:v>4.5</c:v>
                </c:pt>
                <c:pt idx="89" formatCode="General">
                  <c:v>4.5</c:v>
                </c:pt>
                <c:pt idx="90" formatCode="General">
                  <c:v>4.5</c:v>
                </c:pt>
                <c:pt idx="91" formatCode="General">
                  <c:v>4.5</c:v>
                </c:pt>
                <c:pt idx="92" formatCode="General">
                  <c:v>4.5</c:v>
                </c:pt>
                <c:pt idx="93" formatCode="General">
                  <c:v>4.5</c:v>
                </c:pt>
                <c:pt idx="94" formatCode="General">
                  <c:v>4.5</c:v>
                </c:pt>
                <c:pt idx="95" formatCode="General">
                  <c:v>4.5</c:v>
                </c:pt>
                <c:pt idx="96" formatCode="General">
                  <c:v>4.5</c:v>
                </c:pt>
                <c:pt idx="97" formatCode="General">
                  <c:v>4.5</c:v>
                </c:pt>
                <c:pt idx="98" formatCode="General">
                  <c:v>4.5</c:v>
                </c:pt>
                <c:pt idx="99" formatCode="General">
                  <c:v>4.5</c:v>
                </c:pt>
                <c:pt idx="100" formatCode="General">
                  <c:v>4.5</c:v>
                </c:pt>
                <c:pt idx="101" formatCode="General">
                  <c:v>4.5</c:v>
                </c:pt>
                <c:pt idx="102" formatCode="General">
                  <c:v>4.5</c:v>
                </c:pt>
                <c:pt idx="103" formatCode="General">
                  <c:v>4.5</c:v>
                </c:pt>
                <c:pt idx="104" formatCode="General">
                  <c:v>4.5</c:v>
                </c:pt>
                <c:pt idx="105" formatCode="General">
                  <c:v>4.5</c:v>
                </c:pt>
                <c:pt idx="106" formatCode="General">
                  <c:v>4.5</c:v>
                </c:pt>
                <c:pt idx="107" formatCode="General">
                  <c:v>4.5</c:v>
                </c:pt>
                <c:pt idx="108" formatCode="General">
                  <c:v>4.5</c:v>
                </c:pt>
                <c:pt idx="109" formatCode="General">
                  <c:v>4.5</c:v>
                </c:pt>
                <c:pt idx="110" formatCode="General">
                  <c:v>4.5</c:v>
                </c:pt>
                <c:pt idx="111" formatCode="General">
                  <c:v>4.5</c:v>
                </c:pt>
                <c:pt idx="112" formatCode="General">
                  <c:v>4.5</c:v>
                </c:pt>
                <c:pt idx="113" formatCode="General">
                  <c:v>4.5</c:v>
                </c:pt>
                <c:pt idx="114" formatCode="General">
                  <c:v>4.5</c:v>
                </c:pt>
                <c:pt idx="115" formatCode="General">
                  <c:v>4.5</c:v>
                </c:pt>
                <c:pt idx="116" formatCode="General">
                  <c:v>4.5</c:v>
                </c:pt>
                <c:pt idx="117" formatCode="General">
                  <c:v>4.5</c:v>
                </c:pt>
                <c:pt idx="118" formatCode="General">
                  <c:v>4.5</c:v>
                </c:pt>
                <c:pt idx="119" formatCode="General">
                  <c:v>4.5</c:v>
                </c:pt>
                <c:pt idx="120" formatCode="General">
                  <c:v>4.5</c:v>
                </c:pt>
                <c:pt idx="121" formatCode="0.0">
                  <c:v>4.5</c:v>
                </c:pt>
                <c:pt idx="122" formatCode="0.0">
                  <c:v>4.5</c:v>
                </c:pt>
                <c:pt idx="123" formatCode="0.0">
                  <c:v>4.5</c:v>
                </c:pt>
                <c:pt idx="124" formatCode="0.0">
                  <c:v>4.5</c:v>
                </c:pt>
                <c:pt idx="125" formatCode="0.0">
                  <c:v>4.5</c:v>
                </c:pt>
                <c:pt idx="126" formatCode="0.0">
                  <c:v>4.5</c:v>
                </c:pt>
                <c:pt idx="127" formatCode="0.0">
                  <c:v>4.5</c:v>
                </c:pt>
                <c:pt idx="128" formatCode="0.0">
                  <c:v>4.5</c:v>
                </c:pt>
                <c:pt idx="129" formatCode="0.0">
                  <c:v>4.5</c:v>
                </c:pt>
                <c:pt idx="130" formatCode="0.0">
                  <c:v>4.5</c:v>
                </c:pt>
                <c:pt idx="131" formatCode="General">
                  <c:v>4.5</c:v>
                </c:pt>
                <c:pt idx="132" formatCode="General">
                  <c:v>4.5</c:v>
                </c:pt>
                <c:pt idx="133" formatCode="General">
                  <c:v>4.5</c:v>
                </c:pt>
                <c:pt idx="134" formatCode="General">
                  <c:v>4.5</c:v>
                </c:pt>
                <c:pt idx="135" formatCode="General">
                  <c:v>4.5</c:v>
                </c:pt>
                <c:pt idx="136" formatCode="General">
                  <c:v>4.5</c:v>
                </c:pt>
                <c:pt idx="137" formatCode="General">
                  <c:v>4.5</c:v>
                </c:pt>
                <c:pt idx="138" formatCode="General">
                  <c:v>4.5</c:v>
                </c:pt>
                <c:pt idx="139" formatCode="General">
                  <c:v>4.5</c:v>
                </c:pt>
                <c:pt idx="140" formatCode="General">
                  <c:v>4.5</c:v>
                </c:pt>
                <c:pt idx="141" formatCode="General">
                  <c:v>4.5</c:v>
                </c:pt>
                <c:pt idx="142" formatCode="General">
                  <c:v>4.5</c:v>
                </c:pt>
                <c:pt idx="143" formatCode="General">
                  <c:v>4.5</c:v>
                </c:pt>
                <c:pt idx="144" formatCode="General">
                  <c:v>4.5</c:v>
                </c:pt>
                <c:pt idx="145" formatCode="General">
                  <c:v>4.5</c:v>
                </c:pt>
                <c:pt idx="146" formatCode="General">
                  <c:v>4.5</c:v>
                </c:pt>
                <c:pt idx="147" formatCode="General">
                  <c:v>4.5</c:v>
                </c:pt>
                <c:pt idx="148" formatCode="General">
                  <c:v>4.5</c:v>
                </c:pt>
                <c:pt idx="149" formatCode="General">
                  <c:v>4.5</c:v>
                </c:pt>
                <c:pt idx="150" formatCode="General">
                  <c:v>4.5</c:v>
                </c:pt>
                <c:pt idx="151" formatCode="General">
                  <c:v>4.5</c:v>
                </c:pt>
                <c:pt idx="152" formatCode="General">
                  <c:v>4.5</c:v>
                </c:pt>
                <c:pt idx="153" formatCode="General">
                  <c:v>4.5</c:v>
                </c:pt>
                <c:pt idx="154" formatCode="General">
                  <c:v>4.5</c:v>
                </c:pt>
                <c:pt idx="155" formatCode="General">
                  <c:v>4.5</c:v>
                </c:pt>
                <c:pt idx="156" formatCode="General">
                  <c:v>4.5</c:v>
                </c:pt>
                <c:pt idx="157" formatCode="General">
                  <c:v>4.5</c:v>
                </c:pt>
                <c:pt idx="158" formatCode="General">
                  <c:v>4.5</c:v>
                </c:pt>
                <c:pt idx="159" formatCode="General">
                  <c:v>4.5</c:v>
                </c:pt>
                <c:pt idx="160" formatCode="General">
                  <c:v>4.5</c:v>
                </c:pt>
                <c:pt idx="161" formatCode="General">
                  <c:v>4.5</c:v>
                </c:pt>
                <c:pt idx="162" formatCode="General">
                  <c:v>4.5</c:v>
                </c:pt>
                <c:pt idx="163" formatCode="General">
                  <c:v>4.5</c:v>
                </c:pt>
                <c:pt idx="164" formatCode="General">
                  <c:v>4.5</c:v>
                </c:pt>
                <c:pt idx="165" formatCode="General">
                  <c:v>4.5</c:v>
                </c:pt>
                <c:pt idx="166" formatCode="General">
                  <c:v>4.5</c:v>
                </c:pt>
                <c:pt idx="167" formatCode="General">
                  <c:v>4.5</c:v>
                </c:pt>
                <c:pt idx="168" formatCode="General">
                  <c:v>4.5</c:v>
                </c:pt>
                <c:pt idx="169" formatCode="General">
                  <c:v>4.5</c:v>
                </c:pt>
                <c:pt idx="170" formatCode="General">
                  <c:v>4.5</c:v>
                </c:pt>
                <c:pt idx="171" formatCode="General">
                  <c:v>4.5</c:v>
                </c:pt>
                <c:pt idx="172" formatCode="General">
                  <c:v>4.5</c:v>
                </c:pt>
                <c:pt idx="173" formatCode="General">
                  <c:v>4.5</c:v>
                </c:pt>
                <c:pt idx="174" formatCode="General">
                  <c:v>4.5</c:v>
                </c:pt>
                <c:pt idx="175" formatCode="General">
                  <c:v>4.5</c:v>
                </c:pt>
                <c:pt idx="176" formatCode="General">
                  <c:v>4.5</c:v>
                </c:pt>
                <c:pt idx="177" formatCode="General">
                  <c:v>4.5</c:v>
                </c:pt>
                <c:pt idx="178" formatCode="General">
                  <c:v>4.5</c:v>
                </c:pt>
                <c:pt idx="179" formatCode="General">
                  <c:v>4.5</c:v>
                </c:pt>
                <c:pt idx="180" formatCode="General">
                  <c:v>4.5</c:v>
                </c:pt>
                <c:pt idx="181" formatCode="General">
                  <c:v>4.5</c:v>
                </c:pt>
                <c:pt idx="182" formatCode="General">
                  <c:v>4.5</c:v>
                </c:pt>
                <c:pt idx="183" formatCode="General">
                  <c:v>4.5</c:v>
                </c:pt>
                <c:pt idx="184" formatCode="General">
                  <c:v>4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844-4A44-B27E-CBB2340B1C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8196816"/>
        <c:axId val="-188193552"/>
      </c:lineChart>
      <c:lineChart>
        <c:grouping val="standard"/>
        <c:varyColors val="0"/>
        <c:ser>
          <c:idx val="1"/>
          <c:order val="1"/>
          <c:tx>
            <c:strRef>
              <c:f>'T5-6'!$E$2</c:f>
              <c:strCache>
                <c:ptCount val="1"/>
                <c:pt idx="0">
                  <c:v>CPI ex food, en, alc, tob</c:v>
                </c:pt>
              </c:strCache>
            </c:strRef>
          </c:tx>
          <c:spPr>
            <a:ln w="31750">
              <a:solidFill>
                <a:srgbClr val="0070C0"/>
              </a:solidFill>
            </a:ln>
          </c:spPr>
          <c:marker>
            <c:symbol val="none"/>
          </c:marker>
          <c:cat>
            <c:multiLvlStrRef>
              <c:f>'T5-6'!$C$51:$D$235</c:f>
              <c:multiLvlStrCache>
                <c:ptCount val="185"/>
                <c:lvl>
                  <c:pt idx="0">
                    <c:v>11,2</c:v>
                  </c:pt>
                  <c:pt idx="1">
                    <c:v>12,6</c:v>
                  </c:pt>
                  <c:pt idx="2">
                    <c:v>14,1</c:v>
                  </c:pt>
                  <c:pt idx="3">
                    <c:v>14,7</c:v>
                  </c:pt>
                  <c:pt idx="4">
                    <c:v>13,4</c:v>
                  </c:pt>
                  <c:pt idx="5">
                    <c:v>12,7</c:v>
                  </c:pt>
                  <c:pt idx="6">
                    <c:v>12,1</c:v>
                  </c:pt>
                  <c:pt idx="7">
                    <c:v>10,5</c:v>
                  </c:pt>
                  <c:pt idx="8">
                    <c:v>9,3</c:v>
                  </c:pt>
                  <c:pt idx="9">
                    <c:v>8,7</c:v>
                  </c:pt>
                  <c:pt idx="10">
                    <c:v>8,1</c:v>
                  </c:pt>
                  <c:pt idx="11">
                    <c:v>7,0</c:v>
                  </c:pt>
                  <c:pt idx="12">
                    <c:v>5,6</c:v>
                  </c:pt>
                  <c:pt idx="13">
                    <c:v>4,9</c:v>
                  </c:pt>
                  <c:pt idx="14">
                    <c:v>3,2</c:v>
                  </c:pt>
                  <c:pt idx="15">
                    <c:v>2,7</c:v>
                  </c:pt>
                  <c:pt idx="16">
                    <c:v>3,9</c:v>
                  </c:pt>
                  <c:pt idx="17">
                    <c:v>5,5</c:v>
                  </c:pt>
                  <c:pt idx="18">
                    <c:v>6,1</c:v>
                  </c:pt>
                  <c:pt idx="19">
                    <c:v>7,9</c:v>
                  </c:pt>
                  <c:pt idx="20">
                    <c:v>10,3</c:v>
                  </c:pt>
                  <c:pt idx="21">
                    <c:v>12,9</c:v>
                  </c:pt>
                  <c:pt idx="22">
                    <c:v>11,9</c:v>
                  </c:pt>
                  <c:pt idx="23">
                    <c:v>12,2</c:v>
                  </c:pt>
                  <c:pt idx="24">
                    <c:v>12,7</c:v>
                  </c:pt>
                  <c:pt idx="25">
                    <c:v>12,5</c:v>
                  </c:pt>
                  <c:pt idx="26">
                    <c:v>11,2</c:v>
                  </c:pt>
                  <c:pt idx="27">
                    <c:v>11,5</c:v>
                  </c:pt>
                  <c:pt idx="28">
                    <c:v>10,0</c:v>
                  </c:pt>
                  <c:pt idx="29">
                    <c:v>9,7</c:v>
                  </c:pt>
                  <c:pt idx="30">
                    <c:v>8,6</c:v>
                  </c:pt>
                  <c:pt idx="31">
                    <c:v>7,3</c:v>
                  </c:pt>
                  <c:pt idx="32">
                    <c:v>4,8</c:v>
                  </c:pt>
                  <c:pt idx="33">
                    <c:v>2,2</c:v>
                  </c:pt>
                  <c:pt idx="34">
                    <c:v>1,6</c:v>
                  </c:pt>
                  <c:pt idx="35">
                    <c:v>2,2</c:v>
                  </c:pt>
                  <c:pt idx="36">
                    <c:v>3,1</c:v>
                  </c:pt>
                  <c:pt idx="37">
                    <c:v>2,6</c:v>
                  </c:pt>
                  <c:pt idx="38">
                    <c:v>2,3</c:v>
                  </c:pt>
                  <c:pt idx="39">
                    <c:v>2,0</c:v>
                  </c:pt>
                  <c:pt idx="40">
                    <c:v>2,1</c:v>
                  </c:pt>
                  <c:pt idx="41">
                    <c:v>1,2</c:v>
                  </c:pt>
                  <c:pt idx="42">
                    <c:v>2,0</c:v>
                  </c:pt>
                  <c:pt idx="43">
                    <c:v>1,5</c:v>
                  </c:pt>
                  <c:pt idx="44">
                    <c:v>2,1</c:v>
                  </c:pt>
                  <c:pt idx="45">
                    <c:v>1,8</c:v>
                  </c:pt>
                  <c:pt idx="46">
                    <c:v>2,4</c:v>
                  </c:pt>
                  <c:pt idx="47">
                    <c:v>1,8</c:v>
                  </c:pt>
                  <c:pt idx="48">
                    <c:v>0,1</c:v>
                  </c:pt>
                  <c:pt idx="49">
                    <c:v>0,8</c:v>
                  </c:pt>
                  <c:pt idx="50">
                    <c:v>1,8</c:v>
                  </c:pt>
                  <c:pt idx="51">
                    <c:v>1,8</c:v>
                  </c:pt>
                  <c:pt idx="52">
                    <c:v>1,5</c:v>
                  </c:pt>
                  <c:pt idx="53">
                    <c:v>1,9</c:v>
                  </c:pt>
                  <c:pt idx="54">
                    <c:v>1,1</c:v>
                  </c:pt>
                  <c:pt idx="55">
                    <c:v>2,1</c:v>
                  </c:pt>
                  <c:pt idx="56">
                    <c:v>1,4</c:v>
                  </c:pt>
                  <c:pt idx="57">
                    <c:v>1,4</c:v>
                  </c:pt>
                  <c:pt idx="58">
                    <c:v>1,3</c:v>
                  </c:pt>
                  <c:pt idx="59">
                    <c:v>1,6</c:v>
                  </c:pt>
                  <c:pt idx="60">
                    <c:v>2,3</c:v>
                  </c:pt>
                  <c:pt idx="61">
                    <c:v>1,4</c:v>
                  </c:pt>
                  <c:pt idx="62">
                    <c:v>0,6</c:v>
                  </c:pt>
                  <c:pt idx="63">
                    <c:v>0,4</c:v>
                  </c:pt>
                  <c:pt idx="64">
                    <c:v>0,8</c:v>
                  </c:pt>
                  <c:pt idx="65">
                    <c:v>0,3</c:v>
                  </c:pt>
                  <c:pt idx="66">
                    <c:v>1,2</c:v>
                  </c:pt>
                  <c:pt idx="67">
                    <c:v>1,2</c:v>
                  </c:pt>
                  <c:pt idx="68">
                    <c:v>0,6</c:v>
                  </c:pt>
                  <c:pt idx="69">
                    <c:v>1,5</c:v>
                  </c:pt>
                  <c:pt idx="70">
                    <c:v>1,5</c:v>
                  </c:pt>
                  <c:pt idx="71">
                    <c:v>1,5</c:v>
                  </c:pt>
                  <c:pt idx="72">
                    <c:v>2,4</c:v>
                  </c:pt>
                  <c:pt idx="73">
                    <c:v>3,2</c:v>
                  </c:pt>
                  <c:pt idx="74">
                    <c:v>3,5</c:v>
                  </c:pt>
                  <c:pt idx="75">
                    <c:v>4,0</c:v>
                  </c:pt>
                  <c:pt idx="76">
                    <c:v>3,4</c:v>
                  </c:pt>
                  <c:pt idx="77">
                    <c:v>3,6</c:v>
                  </c:pt>
                  <c:pt idx="78">
                    <c:v>3,2</c:v>
                  </c:pt>
                  <c:pt idx="79">
                    <c:v>2,5</c:v>
                  </c:pt>
                  <c:pt idx="80">
                    <c:v>3,2</c:v>
                  </c:pt>
                  <c:pt idx="81">
                    <c:v>2,7</c:v>
                  </c:pt>
                  <c:pt idx="82">
                    <c:v>2,8</c:v>
                  </c:pt>
                  <c:pt idx="83">
                    <c:v>3,0</c:v>
                  </c:pt>
                  <c:pt idx="84">
                    <c:v>1,9</c:v>
                  </c:pt>
                  <c:pt idx="85">
                    <c:v>1,5</c:v>
                  </c:pt>
                  <c:pt idx="86">
                    <c:v>1,4</c:v>
                  </c:pt>
                  <c:pt idx="87">
                    <c:v>1,0</c:v>
                  </c:pt>
                  <c:pt idx="88">
                    <c:v>2,2</c:v>
                  </c:pt>
                  <c:pt idx="89">
                    <c:v>2,3</c:v>
                  </c:pt>
                  <c:pt idx="90">
                    <c:v>2,4</c:v>
                  </c:pt>
                  <c:pt idx="91">
                    <c:v>2,6</c:v>
                  </c:pt>
                  <c:pt idx="92">
                    <c:v>2,1</c:v>
                  </c:pt>
                  <c:pt idx="93">
                    <c:v>2,2</c:v>
                  </c:pt>
                  <c:pt idx="94">
                    <c:v>1,9</c:v>
                  </c:pt>
                  <c:pt idx="95">
                    <c:v>2,0</c:v>
                  </c:pt>
                  <c:pt idx="96">
                    <c:v>2,0</c:v>
                  </c:pt>
                  <c:pt idx="97">
                    <c:v>2,4</c:v>
                  </c:pt>
                  <c:pt idx="98">
                    <c:v>2,8</c:v>
                  </c:pt>
                  <c:pt idx="99">
                    <c:v>3,0</c:v>
                  </c:pt>
                  <c:pt idx="100">
                    <c:v>2,2</c:v>
                  </c:pt>
                  <c:pt idx="101">
                    <c:v>1,5</c:v>
                  </c:pt>
                  <c:pt idx="102">
                    <c:v>1,6</c:v>
                  </c:pt>
                  <c:pt idx="103">
                    <c:v>1,3</c:v>
                  </c:pt>
                  <c:pt idx="104">
                    <c:v>1,1</c:v>
                  </c:pt>
                  <c:pt idx="105">
                    <c:v>1,0</c:v>
                  </c:pt>
                  <c:pt idx="106">
                    <c:v>1,4</c:v>
                  </c:pt>
                  <c:pt idx="107">
                    <c:v>1,8</c:v>
                  </c:pt>
                  <c:pt idx="108">
                    <c:v>2,0</c:v>
                  </c:pt>
                  <c:pt idx="109">
                    <c:v>1,9</c:v>
                  </c:pt>
                  <c:pt idx="110">
                    <c:v>1,4</c:v>
                  </c:pt>
                  <c:pt idx="111">
                    <c:v>0,7</c:v>
                  </c:pt>
                  <c:pt idx="112">
                    <c:v>0,7</c:v>
                  </c:pt>
                  <c:pt idx="113">
                    <c:v>1,6</c:v>
                  </c:pt>
                  <c:pt idx="114">
                    <c:v>2,0</c:v>
                  </c:pt>
                  <c:pt idx="115">
                    <c:v>1,9</c:v>
                  </c:pt>
                  <c:pt idx="116">
                    <c:v>1,9</c:v>
                  </c:pt>
                  <c:pt idx="117">
                    <c:v>1,8</c:v>
                  </c:pt>
                  <c:pt idx="118">
                    <c:v>1,7</c:v>
                  </c:pt>
                  <c:pt idx="119">
                    <c:v>1,3</c:v>
                  </c:pt>
                  <c:pt idx="120">
                    <c:v>1,2</c:v>
                  </c:pt>
                  <c:pt idx="121">
                    <c:v>1,2</c:v>
                  </c:pt>
                  <c:pt idx="122">
                    <c:v>1,8</c:v>
                  </c:pt>
                  <c:pt idx="123">
                    <c:v>2,8</c:v>
                  </c:pt>
                  <c:pt idx="124">
                    <c:v>3,6</c:v>
                  </c:pt>
                  <c:pt idx="125">
                    <c:v>3,3</c:v>
                  </c:pt>
                  <c:pt idx="126">
                    <c:v>3,3</c:v>
                  </c:pt>
                  <c:pt idx="127">
                    <c:v>4,3</c:v>
                  </c:pt>
                  <c:pt idx="128">
                    <c:v>5,7</c:v>
                  </c:pt>
                  <c:pt idx="129">
                    <c:v>6,6</c:v>
                  </c:pt>
                  <c:pt idx="130">
                    <c:v>7,5</c:v>
                  </c:pt>
                  <c:pt idx="131">
                    <c:v>7,9</c:v>
                  </c:pt>
                  <c:pt idx="132">
                    <c:v>8,3</c:v>
                  </c:pt>
                  <c:pt idx="133">
                    <c:v>8,8</c:v>
                  </c:pt>
                  <c:pt idx="134">
                    <c:v>9,1</c:v>
                  </c:pt>
                  <c:pt idx="135">
                    <c:v>9,6</c:v>
                  </c:pt>
                  <c:pt idx="136">
                    <c:v>10,4</c:v>
                  </c:pt>
                  <c:pt idx="137">
                    <c:v>11,9</c:v>
                  </c:pt>
                  <c:pt idx="138">
                    <c:v>12,8</c:v>
                  </c:pt>
                  <c:pt idx="139">
                    <c:v>13,2</c:v>
                  </c:pt>
                  <c:pt idx="140">
                    <c:v>14,0</c:v>
                  </c:pt>
                  <c:pt idx="141">
                    <c:v>15,0</c:v>
                  </c:pt>
                  <c:pt idx="142">
                    <c:v>15,1</c:v>
                  </c:pt>
                  <c:pt idx="143">
                    <c:v>15,1</c:v>
                  </c:pt>
                  <c:pt idx="144">
                    <c:v>15,8</c:v>
                  </c:pt>
                  <c:pt idx="145">
                    <c:v>16,1</c:v>
                  </c:pt>
                  <c:pt idx="146">
                    <c:v>16,2</c:v>
                  </c:pt>
                  <c:pt idx="147">
                    <c:v>15,2</c:v>
                  </c:pt>
                  <c:pt idx="148">
                    <c:v>14,8</c:v>
                  </c:pt>
                  <c:pt idx="149">
                    <c:v>13,7</c:v>
                  </c:pt>
                  <c:pt idx="150">
                    <c:v>12,5</c:v>
                  </c:pt>
                  <c:pt idx="151">
                    <c:v>11,5</c:v>
                  </c:pt>
                  <c:pt idx="152">
                    <c:v>10,2</c:v>
                  </c:pt>
                  <c:pt idx="153">
                    <c:v>8,5</c:v>
                  </c:pt>
                  <c:pt idx="154">
                    <c:v>8,0</c:v>
                  </c:pt>
                  <c:pt idx="155">
                    <c:v>7,6</c:v>
                  </c:pt>
                  <c:pt idx="156">
                    <c:v>6,5</c:v>
                  </c:pt>
                  <c:pt idx="157">
                    <c:v>5,6</c:v>
                  </c:pt>
                  <c:pt idx="158">
                    <c:v>5,0</c:v>
                  </c:pt>
                  <c:pt idx="159">
                    <c:v>5,0</c:v>
                  </c:pt>
                  <c:pt idx="160">
                    <c:v>4,5</c:v>
                  </c:pt>
                  <c:pt idx="161">
                    <c:v>3,8</c:v>
                  </c:pt>
                  <c:pt idx="162">
                    <c:v>4,3</c:v>
                  </c:pt>
                  <c:pt idx="163">
                    <c:v>4,3</c:v>
                  </c:pt>
                  <c:pt idx="164">
                    <c:v>4,2</c:v>
                  </c:pt>
                  <c:pt idx="165">
                    <c:v>4,5</c:v>
                  </c:pt>
                  <c:pt idx="166">
                    <c:v>4,3</c:v>
                  </c:pt>
                  <c:pt idx="167">
                    <c:v>4,3</c:v>
                  </c:pt>
                  <c:pt idx="168">
                    <c:v>4,6</c:v>
                  </c:pt>
                  <c:pt idx="169">
                    <c:v>4,5</c:v>
                  </c:pt>
                  <c:pt idx="170">
                    <c:v>4,3</c:v>
                  </c:pt>
                  <c:pt idx="171">
                    <c:v>4,0</c:v>
                  </c:pt>
                  <c:pt idx="172">
                    <c:v>3,8</c:v>
                  </c:pt>
                  <c:pt idx="173">
                    <c:v>4,6</c:v>
                  </c:pt>
                  <c:pt idx="174">
                    <c:v>4,9</c:v>
                  </c:pt>
                  <c:pt idx="175">
                    <c:v>4,7</c:v>
                  </c:pt>
                  <c:pt idx="176">
                    <c:v>2,9</c:v>
                  </c:pt>
                  <c:pt idx="177">
                    <c:v>2,8</c:v>
                  </c:pt>
                  <c:pt idx="178">
                    <c:v>2,8</c:v>
                  </c:pt>
                  <c:pt idx="179">
                    <c:v>2,8</c:v>
                  </c:pt>
                  <c:pt idx="180">
                    <c:v>2,4</c:v>
                  </c:pt>
                  <c:pt idx="181">
                    <c:v>2,4</c:v>
                  </c:pt>
                  <c:pt idx="182">
                    <c:v>2,8</c:v>
                  </c:pt>
                  <c:pt idx="183">
                    <c:v>3,3</c:v>
                  </c:pt>
                  <c:pt idx="184">
                    <c:v>3,5</c:v>
                  </c:pt>
                </c:lvl>
                <c:lvl>
                  <c:pt idx="0">
                    <c:v>2011</c:v>
                  </c:pt>
                  <c:pt idx="1">
                    <c:v>2011</c:v>
                  </c:pt>
                  <c:pt idx="2">
                    <c:v>2011</c:v>
                  </c:pt>
                  <c:pt idx="3">
                    <c:v>2011</c:v>
                  </c:pt>
                  <c:pt idx="4">
                    <c:v>2011</c:v>
                  </c:pt>
                  <c:pt idx="5">
                    <c:v>2011</c:v>
                  </c:pt>
                  <c:pt idx="6">
                    <c:v>2011</c:v>
                  </c:pt>
                  <c:pt idx="7">
                    <c:v>2011</c:v>
                  </c:pt>
                  <c:pt idx="8">
                    <c:v>2011</c:v>
                  </c:pt>
                  <c:pt idx="9">
                    <c:v>2011</c:v>
                  </c:pt>
                  <c:pt idx="10">
                    <c:v>2011</c:v>
                  </c:pt>
                  <c:pt idx="11">
                    <c:v>2011</c:v>
                  </c:pt>
                  <c:pt idx="12">
                    <c:v>2012</c:v>
                  </c:pt>
                  <c:pt idx="13">
                    <c:v>2012</c:v>
                  </c:pt>
                  <c:pt idx="14">
                    <c:v>2012</c:v>
                  </c:pt>
                  <c:pt idx="15">
                    <c:v>2012</c:v>
                  </c:pt>
                  <c:pt idx="16">
                    <c:v>2012</c:v>
                  </c:pt>
                  <c:pt idx="17">
                    <c:v>2012</c:v>
                  </c:pt>
                  <c:pt idx="18">
                    <c:v>2012</c:v>
                  </c:pt>
                  <c:pt idx="19">
                    <c:v>2012</c:v>
                  </c:pt>
                  <c:pt idx="20">
                    <c:v>2012</c:v>
                  </c:pt>
                  <c:pt idx="21">
                    <c:v>2012</c:v>
                  </c:pt>
                  <c:pt idx="22">
                    <c:v>2012</c:v>
                  </c:pt>
                  <c:pt idx="23">
                    <c:v>2012</c:v>
                  </c:pt>
                  <c:pt idx="24">
                    <c:v>2013</c:v>
                  </c:pt>
                  <c:pt idx="25">
                    <c:v>2013</c:v>
                  </c:pt>
                  <c:pt idx="26">
                    <c:v>2013</c:v>
                  </c:pt>
                  <c:pt idx="27">
                    <c:v>2013</c:v>
                  </c:pt>
                  <c:pt idx="28">
                    <c:v>2013</c:v>
                  </c:pt>
                  <c:pt idx="29">
                    <c:v>2013</c:v>
                  </c:pt>
                  <c:pt idx="30">
                    <c:v>2013</c:v>
                  </c:pt>
                  <c:pt idx="31">
                    <c:v>2013</c:v>
                  </c:pt>
                  <c:pt idx="32">
                    <c:v>2013</c:v>
                  </c:pt>
                  <c:pt idx="33">
                    <c:v>2013</c:v>
                  </c:pt>
                  <c:pt idx="34">
                    <c:v>2013</c:v>
                  </c:pt>
                  <c:pt idx="35">
                    <c:v>2013</c:v>
                  </c:pt>
                  <c:pt idx="36">
                    <c:v>2014</c:v>
                  </c:pt>
                  <c:pt idx="37">
                    <c:v>2014</c:v>
                  </c:pt>
                  <c:pt idx="38">
                    <c:v>2014</c:v>
                  </c:pt>
                  <c:pt idx="39">
                    <c:v>2014</c:v>
                  </c:pt>
                  <c:pt idx="40">
                    <c:v>2014</c:v>
                  </c:pt>
                  <c:pt idx="41">
                    <c:v>2014</c:v>
                  </c:pt>
                  <c:pt idx="42">
                    <c:v>2014</c:v>
                  </c:pt>
                  <c:pt idx="43">
                    <c:v>2014</c:v>
                  </c:pt>
                  <c:pt idx="44">
                    <c:v>2014</c:v>
                  </c:pt>
                  <c:pt idx="45">
                    <c:v>2014</c:v>
                  </c:pt>
                  <c:pt idx="46">
                    <c:v>2014</c:v>
                  </c:pt>
                  <c:pt idx="47">
                    <c:v>2014</c:v>
                  </c:pt>
                  <c:pt idx="48">
                    <c:v>2015</c:v>
                  </c:pt>
                  <c:pt idx="49">
                    <c:v>2015</c:v>
                  </c:pt>
                  <c:pt idx="50">
                    <c:v>2015</c:v>
                  </c:pt>
                  <c:pt idx="51">
                    <c:v>2015</c:v>
                  </c:pt>
                  <c:pt idx="52">
                    <c:v>2015</c:v>
                  </c:pt>
                  <c:pt idx="53">
                    <c:v>2015</c:v>
                  </c:pt>
                  <c:pt idx="54">
                    <c:v>2015</c:v>
                  </c:pt>
                  <c:pt idx="55">
                    <c:v>2015</c:v>
                  </c:pt>
                  <c:pt idx="56">
                    <c:v>2015</c:v>
                  </c:pt>
                  <c:pt idx="57">
                    <c:v>2015</c:v>
                  </c:pt>
                  <c:pt idx="58">
                    <c:v>2015</c:v>
                  </c:pt>
                  <c:pt idx="59">
                    <c:v>2015</c:v>
                  </c:pt>
                  <c:pt idx="60">
                    <c:v>2016</c:v>
                  </c:pt>
                  <c:pt idx="61">
                    <c:v>2016</c:v>
                  </c:pt>
                  <c:pt idx="62">
                    <c:v>2016</c:v>
                  </c:pt>
                  <c:pt idx="63">
                    <c:v>2016</c:v>
                  </c:pt>
                  <c:pt idx="64">
                    <c:v>2016</c:v>
                  </c:pt>
                  <c:pt idx="65">
                    <c:v>2016</c:v>
                  </c:pt>
                  <c:pt idx="66">
                    <c:v>2016</c:v>
                  </c:pt>
                  <c:pt idx="67">
                    <c:v>2016</c:v>
                  </c:pt>
                  <c:pt idx="68">
                    <c:v>2016</c:v>
                  </c:pt>
                  <c:pt idx="69">
                    <c:v>2016</c:v>
                  </c:pt>
                  <c:pt idx="70">
                    <c:v>2016</c:v>
                  </c:pt>
                  <c:pt idx="71">
                    <c:v>2016</c:v>
                  </c:pt>
                  <c:pt idx="72">
                    <c:v>2017</c:v>
                  </c:pt>
                  <c:pt idx="73">
                    <c:v>2017</c:v>
                  </c:pt>
                  <c:pt idx="74">
                    <c:v>2017</c:v>
                  </c:pt>
                  <c:pt idx="75">
                    <c:v>2017</c:v>
                  </c:pt>
                  <c:pt idx="76">
                    <c:v>2017</c:v>
                  </c:pt>
                  <c:pt idx="77">
                    <c:v>2017</c:v>
                  </c:pt>
                  <c:pt idx="78">
                    <c:v>2017</c:v>
                  </c:pt>
                  <c:pt idx="79">
                    <c:v>2017</c:v>
                  </c:pt>
                  <c:pt idx="80">
                    <c:v>2017</c:v>
                  </c:pt>
                  <c:pt idx="81">
                    <c:v>2017</c:v>
                  </c:pt>
                  <c:pt idx="82">
                    <c:v>2017</c:v>
                  </c:pt>
                  <c:pt idx="83">
                    <c:v>2017</c:v>
                  </c:pt>
                  <c:pt idx="84">
                    <c:v>2018</c:v>
                  </c:pt>
                  <c:pt idx="85">
                    <c:v>2018</c:v>
                  </c:pt>
                  <c:pt idx="86">
                    <c:v>2018</c:v>
                  </c:pt>
                  <c:pt idx="87">
                    <c:v>2018</c:v>
                  </c:pt>
                  <c:pt idx="88">
                    <c:v>2018</c:v>
                  </c:pt>
                  <c:pt idx="89">
                    <c:v>2018</c:v>
                  </c:pt>
                  <c:pt idx="90">
                    <c:v>2018</c:v>
                  </c:pt>
                  <c:pt idx="91">
                    <c:v>2018</c:v>
                  </c:pt>
                  <c:pt idx="92">
                    <c:v>2018</c:v>
                  </c:pt>
                  <c:pt idx="93">
                    <c:v>2018</c:v>
                  </c:pt>
                  <c:pt idx="94">
                    <c:v>2018</c:v>
                  </c:pt>
                  <c:pt idx="95">
                    <c:v>2018</c:v>
                  </c:pt>
                  <c:pt idx="96">
                    <c:v>2019</c:v>
                  </c:pt>
                  <c:pt idx="97">
                    <c:v>2019</c:v>
                  </c:pt>
                  <c:pt idx="98">
                    <c:v>2019</c:v>
                  </c:pt>
                  <c:pt idx="99">
                    <c:v>2019</c:v>
                  </c:pt>
                  <c:pt idx="100">
                    <c:v>2019</c:v>
                  </c:pt>
                  <c:pt idx="101">
                    <c:v>2019</c:v>
                  </c:pt>
                  <c:pt idx="102">
                    <c:v>2019</c:v>
                  </c:pt>
                  <c:pt idx="103">
                    <c:v>2019</c:v>
                  </c:pt>
                  <c:pt idx="104">
                    <c:v>2019</c:v>
                  </c:pt>
                  <c:pt idx="105">
                    <c:v>2019</c:v>
                  </c:pt>
                  <c:pt idx="106">
                    <c:v>2019</c:v>
                  </c:pt>
                  <c:pt idx="107">
                    <c:v>2019</c:v>
                  </c:pt>
                  <c:pt idx="108">
                    <c:v>2020</c:v>
                  </c:pt>
                  <c:pt idx="109">
                    <c:v>2020</c:v>
                  </c:pt>
                  <c:pt idx="110">
                    <c:v>2020</c:v>
                  </c:pt>
                  <c:pt idx="111">
                    <c:v>2020</c:v>
                  </c:pt>
                  <c:pt idx="112">
                    <c:v>2020</c:v>
                  </c:pt>
                  <c:pt idx="113">
                    <c:v>2020</c:v>
                  </c:pt>
                  <c:pt idx="114">
                    <c:v>2020</c:v>
                  </c:pt>
                  <c:pt idx="115">
                    <c:v>2020</c:v>
                  </c:pt>
                  <c:pt idx="116">
                    <c:v>2020</c:v>
                  </c:pt>
                  <c:pt idx="117">
                    <c:v>2020</c:v>
                  </c:pt>
                  <c:pt idx="118">
                    <c:v>2020</c:v>
                  </c:pt>
                  <c:pt idx="119">
                    <c:v>2020</c:v>
                  </c:pt>
                  <c:pt idx="120">
                    <c:v>2021</c:v>
                  </c:pt>
                  <c:pt idx="121">
                    <c:v>2021</c:v>
                  </c:pt>
                  <c:pt idx="122">
                    <c:v>2021</c:v>
                  </c:pt>
                  <c:pt idx="123">
                    <c:v>2021</c:v>
                  </c:pt>
                  <c:pt idx="124">
                    <c:v>2021</c:v>
                  </c:pt>
                  <c:pt idx="125">
                    <c:v>2021</c:v>
                  </c:pt>
                  <c:pt idx="126">
                    <c:v>2021</c:v>
                  </c:pt>
                  <c:pt idx="127">
                    <c:v>2021</c:v>
                  </c:pt>
                  <c:pt idx="128">
                    <c:v>2021</c:v>
                  </c:pt>
                  <c:pt idx="129">
                    <c:v>2021</c:v>
                  </c:pt>
                  <c:pt idx="130">
                    <c:v>2021</c:v>
                  </c:pt>
                  <c:pt idx="131">
                    <c:v>2021</c:v>
                  </c:pt>
                  <c:pt idx="132">
                    <c:v>2022</c:v>
                  </c:pt>
                  <c:pt idx="133">
                    <c:v>2022</c:v>
                  </c:pt>
                  <c:pt idx="134">
                    <c:v>2022</c:v>
                  </c:pt>
                  <c:pt idx="135">
                    <c:v>2022</c:v>
                  </c:pt>
                  <c:pt idx="136">
                    <c:v>2022</c:v>
                  </c:pt>
                  <c:pt idx="137">
                    <c:v>2022</c:v>
                  </c:pt>
                  <c:pt idx="138">
                    <c:v>2022</c:v>
                  </c:pt>
                  <c:pt idx="139">
                    <c:v>2022</c:v>
                  </c:pt>
                  <c:pt idx="140">
                    <c:v>2022</c:v>
                  </c:pt>
                  <c:pt idx="141">
                    <c:v>2022</c:v>
                  </c:pt>
                  <c:pt idx="142">
                    <c:v>2022</c:v>
                  </c:pt>
                  <c:pt idx="143">
                    <c:v>2022</c:v>
                  </c:pt>
                  <c:pt idx="144">
                    <c:v>2023</c:v>
                  </c:pt>
                  <c:pt idx="145">
                    <c:v>2023</c:v>
                  </c:pt>
                  <c:pt idx="146">
                    <c:v>2023</c:v>
                  </c:pt>
                  <c:pt idx="147">
                    <c:v>2023</c:v>
                  </c:pt>
                  <c:pt idx="148">
                    <c:v>2023</c:v>
                  </c:pt>
                  <c:pt idx="149">
                    <c:v>2023</c:v>
                  </c:pt>
                  <c:pt idx="150">
                    <c:v>2023</c:v>
                  </c:pt>
                  <c:pt idx="151">
                    <c:v>2023</c:v>
                  </c:pt>
                  <c:pt idx="152">
                    <c:v>2023</c:v>
                  </c:pt>
                  <c:pt idx="153">
                    <c:v>2023</c:v>
                  </c:pt>
                  <c:pt idx="154">
                    <c:v>2023</c:v>
                  </c:pt>
                  <c:pt idx="155">
                    <c:v>2023</c:v>
                  </c:pt>
                  <c:pt idx="156">
                    <c:v>2024</c:v>
                  </c:pt>
                  <c:pt idx="157">
                    <c:v>2024</c:v>
                  </c:pt>
                  <c:pt idx="158">
                    <c:v>2024</c:v>
                  </c:pt>
                  <c:pt idx="159">
                    <c:v>2024</c:v>
                  </c:pt>
                  <c:pt idx="160">
                    <c:v>2024</c:v>
                  </c:pt>
                  <c:pt idx="161">
                    <c:v>2024</c:v>
                  </c:pt>
                  <c:pt idx="162">
                    <c:v>2024</c:v>
                  </c:pt>
                  <c:pt idx="163">
                    <c:v>2024</c:v>
                  </c:pt>
                  <c:pt idx="164">
                    <c:v>2024</c:v>
                  </c:pt>
                  <c:pt idx="165">
                    <c:v>2024</c:v>
                  </c:pt>
                  <c:pt idx="166">
                    <c:v>2024</c:v>
                  </c:pt>
                  <c:pt idx="167">
                    <c:v>2024</c:v>
                  </c:pt>
                  <c:pt idx="168">
                    <c:v>2025</c:v>
                  </c:pt>
                  <c:pt idx="169">
                    <c:v>2025</c:v>
                  </c:pt>
                  <c:pt idx="170">
                    <c:v>2025</c:v>
                  </c:pt>
                  <c:pt idx="171">
                    <c:v>2025</c:v>
                  </c:pt>
                  <c:pt idx="172">
                    <c:v>2025</c:v>
                  </c:pt>
                  <c:pt idx="173">
                    <c:v>2025</c:v>
                  </c:pt>
                  <c:pt idx="174">
                    <c:v>2025</c:v>
                  </c:pt>
                  <c:pt idx="175">
                    <c:v>2025</c:v>
                  </c:pt>
                  <c:pt idx="176">
                    <c:v>2025</c:v>
                  </c:pt>
                  <c:pt idx="177">
                    <c:v>2025</c:v>
                  </c:pt>
                  <c:pt idx="178">
                    <c:v>2025</c:v>
                  </c:pt>
                  <c:pt idx="179">
                    <c:v>2025</c:v>
                  </c:pt>
                  <c:pt idx="180">
                    <c:v>2026</c:v>
                  </c:pt>
                  <c:pt idx="181">
                    <c:v>2026</c:v>
                  </c:pt>
                  <c:pt idx="182">
                    <c:v>2026</c:v>
                  </c:pt>
                  <c:pt idx="183">
                    <c:v>2026</c:v>
                  </c:pt>
                  <c:pt idx="184">
                    <c:v>2026</c:v>
                  </c:pt>
                </c:lvl>
              </c:multiLvlStrCache>
            </c:multiLvlStrRef>
          </c:cat>
          <c:val>
            <c:numRef>
              <c:f>'T5-6'!$E$51:$E$235</c:f>
              <c:numCache>
                <c:formatCode>#,##0.0</c:formatCode>
                <c:ptCount val="185"/>
                <c:pt idx="0">
                  <c:v>8</c:v>
                </c:pt>
                <c:pt idx="1">
                  <c:v>7.6</c:v>
                </c:pt>
                <c:pt idx="2">
                  <c:v>7.6</c:v>
                </c:pt>
                <c:pt idx="3">
                  <c:v>7.5</c:v>
                </c:pt>
                <c:pt idx="4">
                  <c:v>7.2</c:v>
                </c:pt>
                <c:pt idx="5">
                  <c:v>6.7</c:v>
                </c:pt>
                <c:pt idx="6">
                  <c:v>6.1</c:v>
                </c:pt>
                <c:pt idx="7">
                  <c:v>6.6</c:v>
                </c:pt>
                <c:pt idx="8">
                  <c:v>6</c:v>
                </c:pt>
                <c:pt idx="9">
                  <c:v>5.3</c:v>
                </c:pt>
                <c:pt idx="10">
                  <c:v>5.6</c:v>
                </c:pt>
                <c:pt idx="11">
                  <c:v>5.3</c:v>
                </c:pt>
                <c:pt idx="12">
                  <c:v>5.4</c:v>
                </c:pt>
                <c:pt idx="13">
                  <c:v>5.5</c:v>
                </c:pt>
                <c:pt idx="14">
                  <c:v>5.5</c:v>
                </c:pt>
                <c:pt idx="15">
                  <c:v>5.6</c:v>
                </c:pt>
                <c:pt idx="16">
                  <c:v>5.8</c:v>
                </c:pt>
                <c:pt idx="17">
                  <c:v>6.5</c:v>
                </c:pt>
                <c:pt idx="18">
                  <c:v>7.1</c:v>
                </c:pt>
                <c:pt idx="19">
                  <c:v>6.7</c:v>
                </c:pt>
                <c:pt idx="20">
                  <c:v>6.4</c:v>
                </c:pt>
                <c:pt idx="21">
                  <c:v>7.6</c:v>
                </c:pt>
                <c:pt idx="22">
                  <c:v>7.7</c:v>
                </c:pt>
                <c:pt idx="23">
                  <c:v>8.1999999999999993</c:v>
                </c:pt>
                <c:pt idx="24">
                  <c:v>8.1999999999999993</c:v>
                </c:pt>
                <c:pt idx="25">
                  <c:v>7.9</c:v>
                </c:pt>
                <c:pt idx="26">
                  <c:v>7.6</c:v>
                </c:pt>
                <c:pt idx="27">
                  <c:v>7.4</c:v>
                </c:pt>
                <c:pt idx="28">
                  <c:v>7.2</c:v>
                </c:pt>
                <c:pt idx="29">
                  <c:v>7.1</c:v>
                </c:pt>
                <c:pt idx="30">
                  <c:v>7</c:v>
                </c:pt>
                <c:pt idx="31">
                  <c:v>6.8</c:v>
                </c:pt>
                <c:pt idx="32">
                  <c:v>6.3</c:v>
                </c:pt>
                <c:pt idx="33">
                  <c:v>5.4</c:v>
                </c:pt>
                <c:pt idx="34">
                  <c:v>4.5999999999999996</c:v>
                </c:pt>
                <c:pt idx="35">
                  <c:v>4.2</c:v>
                </c:pt>
                <c:pt idx="36">
                  <c:v>3.7</c:v>
                </c:pt>
                <c:pt idx="37">
                  <c:v>3.5</c:v>
                </c:pt>
                <c:pt idx="38">
                  <c:v>3.4</c:v>
                </c:pt>
                <c:pt idx="39">
                  <c:v>3.3</c:v>
                </c:pt>
                <c:pt idx="40">
                  <c:v>3.1</c:v>
                </c:pt>
                <c:pt idx="41">
                  <c:v>2.5</c:v>
                </c:pt>
                <c:pt idx="42">
                  <c:v>2.6</c:v>
                </c:pt>
                <c:pt idx="43">
                  <c:v>2</c:v>
                </c:pt>
                <c:pt idx="44">
                  <c:v>2</c:v>
                </c:pt>
                <c:pt idx="45">
                  <c:v>1.9</c:v>
                </c:pt>
                <c:pt idx="46">
                  <c:v>2</c:v>
                </c:pt>
                <c:pt idx="47">
                  <c:v>2.2999999999999998</c:v>
                </c:pt>
                <c:pt idx="48">
                  <c:v>1.7</c:v>
                </c:pt>
                <c:pt idx="49">
                  <c:v>1.8</c:v>
                </c:pt>
                <c:pt idx="50">
                  <c:v>1.9</c:v>
                </c:pt>
                <c:pt idx="51">
                  <c:v>1.9</c:v>
                </c:pt>
                <c:pt idx="52">
                  <c:v>1.9</c:v>
                </c:pt>
                <c:pt idx="53">
                  <c:v>2.1</c:v>
                </c:pt>
                <c:pt idx="54">
                  <c:v>1.8</c:v>
                </c:pt>
                <c:pt idx="55">
                  <c:v>2.2000000000000002</c:v>
                </c:pt>
                <c:pt idx="56">
                  <c:v>2.1</c:v>
                </c:pt>
                <c:pt idx="57">
                  <c:v>2.2000000000000002</c:v>
                </c:pt>
                <c:pt idx="58">
                  <c:v>2.2000000000000002</c:v>
                </c:pt>
                <c:pt idx="59">
                  <c:v>1.6</c:v>
                </c:pt>
                <c:pt idx="60">
                  <c:v>2</c:v>
                </c:pt>
                <c:pt idx="61" formatCode="0.0">
                  <c:v>1.7</c:v>
                </c:pt>
                <c:pt idx="62" formatCode="0.0">
                  <c:v>1.7</c:v>
                </c:pt>
                <c:pt idx="63" formatCode="0.0">
                  <c:v>1.7</c:v>
                </c:pt>
                <c:pt idx="64" formatCode="0.0">
                  <c:v>1.6</c:v>
                </c:pt>
                <c:pt idx="65" formatCode="0.0">
                  <c:v>1.5</c:v>
                </c:pt>
                <c:pt idx="66" formatCode="0.0">
                  <c:v>1.5</c:v>
                </c:pt>
                <c:pt idx="67" formatCode="0.0">
                  <c:v>1.8</c:v>
                </c:pt>
                <c:pt idx="68" formatCode="0.0">
                  <c:v>1.6</c:v>
                </c:pt>
                <c:pt idx="69" formatCode="0.0">
                  <c:v>1.5</c:v>
                </c:pt>
                <c:pt idx="70" formatCode="0.0">
                  <c:v>1.4</c:v>
                </c:pt>
                <c:pt idx="71" formatCode="0.0">
                  <c:v>1.5</c:v>
                </c:pt>
                <c:pt idx="72" formatCode="0.0">
                  <c:v>1.7</c:v>
                </c:pt>
                <c:pt idx="73" formatCode="0.0">
                  <c:v>1.7</c:v>
                </c:pt>
                <c:pt idx="74" formatCode="0.0">
                  <c:v>2.1</c:v>
                </c:pt>
                <c:pt idx="75" formatCode="0.0">
                  <c:v>2</c:v>
                </c:pt>
                <c:pt idx="76" formatCode="0.0">
                  <c:v>2.2000000000000002</c:v>
                </c:pt>
                <c:pt idx="77" formatCode="0.0">
                  <c:v>2</c:v>
                </c:pt>
                <c:pt idx="78" formatCode="0.0">
                  <c:v>1.7</c:v>
                </c:pt>
                <c:pt idx="79" formatCode="0.0">
                  <c:v>1.5</c:v>
                </c:pt>
                <c:pt idx="80" formatCode="0.0">
                  <c:v>1.5</c:v>
                </c:pt>
                <c:pt idx="81" formatCode="0.0">
                  <c:v>1.4</c:v>
                </c:pt>
                <c:pt idx="82" formatCode="0.0">
                  <c:v>1.4</c:v>
                </c:pt>
                <c:pt idx="83" formatCode="0.0">
                  <c:v>1.3</c:v>
                </c:pt>
                <c:pt idx="84" formatCode="0.0">
                  <c:v>1.2</c:v>
                </c:pt>
                <c:pt idx="85" formatCode="General">
                  <c:v>1.3</c:v>
                </c:pt>
                <c:pt idx="86" formatCode="General">
                  <c:v>0.8</c:v>
                </c:pt>
                <c:pt idx="87" formatCode="General">
                  <c:v>0.8</c:v>
                </c:pt>
                <c:pt idx="88" formatCode="General">
                  <c:v>0.8</c:v>
                </c:pt>
                <c:pt idx="89" formatCode="0.0">
                  <c:v>0.8</c:v>
                </c:pt>
                <c:pt idx="90" formatCode="0.0">
                  <c:v>0.9</c:v>
                </c:pt>
                <c:pt idx="91" formatCode="0.0">
                  <c:v>1.1000000000000001</c:v>
                </c:pt>
                <c:pt idx="92" formatCode="0.0">
                  <c:v>1.1000000000000001</c:v>
                </c:pt>
                <c:pt idx="93" formatCode="0.0">
                  <c:v>1.1000000000000001</c:v>
                </c:pt>
                <c:pt idx="94" formatCode="0.0">
                  <c:v>1</c:v>
                </c:pt>
                <c:pt idx="95" formatCode="0.0">
                  <c:v>1</c:v>
                </c:pt>
                <c:pt idx="96" formatCode="0.0">
                  <c:v>1.2</c:v>
                </c:pt>
                <c:pt idx="97" formatCode="0.0">
                  <c:v>1.3</c:v>
                </c:pt>
                <c:pt idx="98" formatCode="0.0">
                  <c:v>1.3</c:v>
                </c:pt>
                <c:pt idx="99" formatCode="0.0">
                  <c:v>1.4</c:v>
                </c:pt>
                <c:pt idx="100" formatCode="0.0">
                  <c:v>1.5399421567189506</c:v>
                </c:pt>
                <c:pt idx="101" formatCode="0.0">
                  <c:v>1.4</c:v>
                </c:pt>
                <c:pt idx="102" formatCode="0.0">
                  <c:v>1.5</c:v>
                </c:pt>
                <c:pt idx="103" formatCode="0.0">
                  <c:v>1.2</c:v>
                </c:pt>
                <c:pt idx="104" formatCode="0.0">
                  <c:v>1.3</c:v>
                </c:pt>
                <c:pt idx="105" formatCode="0.0">
                  <c:v>1.1000000000000001</c:v>
                </c:pt>
                <c:pt idx="106" formatCode="0.0">
                  <c:v>1.2</c:v>
                </c:pt>
                <c:pt idx="107" formatCode="0.0">
                  <c:v>1.1000000000000001</c:v>
                </c:pt>
                <c:pt idx="108" formatCode="0.0">
                  <c:v>1</c:v>
                </c:pt>
                <c:pt idx="109" formatCode="0.0">
                  <c:v>1.5</c:v>
                </c:pt>
                <c:pt idx="110" formatCode="0.0">
                  <c:v>1.6</c:v>
                </c:pt>
                <c:pt idx="111" formatCode="0.0">
                  <c:v>1.4</c:v>
                </c:pt>
                <c:pt idx="112" formatCode="0.0">
                  <c:v>1.3</c:v>
                </c:pt>
                <c:pt idx="113" formatCode="0.0">
                  <c:v>1.4</c:v>
                </c:pt>
                <c:pt idx="114" formatCode="0.0">
                  <c:v>1.7</c:v>
                </c:pt>
                <c:pt idx="115" formatCode="0.0">
                  <c:v>1.9</c:v>
                </c:pt>
                <c:pt idx="116" formatCode="0.0">
                  <c:v>1.7</c:v>
                </c:pt>
                <c:pt idx="117" formatCode="0.0">
                  <c:v>1.9</c:v>
                </c:pt>
                <c:pt idx="118" formatCode="0.0">
                  <c:v>2</c:v>
                </c:pt>
                <c:pt idx="119" formatCode="0.0">
                  <c:v>2.1</c:v>
                </c:pt>
                <c:pt idx="120" formatCode="0.0">
                  <c:v>2.1</c:v>
                </c:pt>
                <c:pt idx="121" formatCode="0.0">
                  <c:v>1.8</c:v>
                </c:pt>
                <c:pt idx="122" formatCode="0.0">
                  <c:v>1.8</c:v>
                </c:pt>
                <c:pt idx="123" formatCode="0.0">
                  <c:v>1.8</c:v>
                </c:pt>
                <c:pt idx="124" formatCode="0.0">
                  <c:v>2</c:v>
                </c:pt>
                <c:pt idx="125" formatCode="0.0">
                  <c:v>2</c:v>
                </c:pt>
                <c:pt idx="126" formatCode="0.0">
                  <c:v>1.9</c:v>
                </c:pt>
                <c:pt idx="127" formatCode="0.0">
                  <c:v>1.8</c:v>
                </c:pt>
                <c:pt idx="128" formatCode="0.0">
                  <c:v>2.6</c:v>
                </c:pt>
                <c:pt idx="129" formatCode="0.0">
                  <c:v>2.7</c:v>
                </c:pt>
                <c:pt idx="130" formatCode="0.0">
                  <c:v>3</c:v>
                </c:pt>
                <c:pt idx="131" formatCode="0.0">
                  <c:v>3.5</c:v>
                </c:pt>
                <c:pt idx="132" formatCode="0.0">
                  <c:v>4.0999999999999996</c:v>
                </c:pt>
                <c:pt idx="133" formatCode="0.0">
                  <c:v>4.4000000000000004</c:v>
                </c:pt>
                <c:pt idx="134" formatCode="0.0">
                  <c:v>4.8</c:v>
                </c:pt>
                <c:pt idx="135" formatCode="0.0">
                  <c:v>5.5</c:v>
                </c:pt>
                <c:pt idx="136" formatCode="0.0">
                  <c:v>6.3</c:v>
                </c:pt>
                <c:pt idx="137" formatCode="0.0">
                  <c:v>6.7</c:v>
                </c:pt>
                <c:pt idx="138" formatCode="0.0">
                  <c:v>7.5410598695116136</c:v>
                </c:pt>
                <c:pt idx="139" formatCode="0.0">
                  <c:v>7.9</c:v>
                </c:pt>
                <c:pt idx="140" formatCode="0.0">
                  <c:v>8.6</c:v>
                </c:pt>
                <c:pt idx="141" formatCode="0.0">
                  <c:v>9.5</c:v>
                </c:pt>
                <c:pt idx="142" formatCode="0.0">
                  <c:v>9.6999999999999993</c:v>
                </c:pt>
                <c:pt idx="143" formatCode="0.0">
                  <c:v>10.1</c:v>
                </c:pt>
                <c:pt idx="144" formatCode="General">
                  <c:v>10.4</c:v>
                </c:pt>
                <c:pt idx="145" formatCode="General">
                  <c:v>11.1</c:v>
                </c:pt>
                <c:pt idx="146" formatCode="General">
                  <c:v>11.3</c:v>
                </c:pt>
                <c:pt idx="147" formatCode="General">
                  <c:v>11.1</c:v>
                </c:pt>
                <c:pt idx="148" formatCode="General">
                  <c:v>10.4</c:v>
                </c:pt>
                <c:pt idx="149" formatCode="General">
                  <c:v>9.9</c:v>
                </c:pt>
                <c:pt idx="150" formatCode="General">
                  <c:v>9.4</c:v>
                </c:pt>
                <c:pt idx="151" formatCode="General">
                  <c:v>9.1</c:v>
                </c:pt>
                <c:pt idx="152" formatCode="General">
                  <c:v>8.1999999999999993</c:v>
                </c:pt>
                <c:pt idx="153" formatCode="General">
                  <c:v>7.3</c:v>
                </c:pt>
                <c:pt idx="154" formatCode="General">
                  <c:v>7</c:v>
                </c:pt>
                <c:pt idx="155" formatCode="0.0">
                  <c:v>6.5</c:v>
                </c:pt>
                <c:pt idx="156" formatCode="General">
                  <c:v>5.9</c:v>
                </c:pt>
                <c:pt idx="157" formatCode="General">
                  <c:v>5.2</c:v>
                </c:pt>
                <c:pt idx="158" formatCode="0.0">
                  <c:v>5</c:v>
                </c:pt>
                <c:pt idx="159" formatCode="General">
                  <c:v>4.8</c:v>
                </c:pt>
                <c:pt idx="160" formatCode="0.0">
                  <c:v>5</c:v>
                </c:pt>
                <c:pt idx="161" formatCode="General">
                  <c:v>5.0999999999999996</c:v>
                </c:pt>
                <c:pt idx="162" formatCode="General">
                  <c:v>5.0999999999999996</c:v>
                </c:pt>
                <c:pt idx="163" formatCode="General">
                  <c:v>5.2</c:v>
                </c:pt>
                <c:pt idx="164" formatCode="General">
                  <c:v>5.3</c:v>
                </c:pt>
                <c:pt idx="165" formatCode="General">
                  <c:v>5.5</c:v>
                </c:pt>
                <c:pt idx="166" formatCode="General">
                  <c:v>5.4</c:v>
                </c:pt>
                <c:pt idx="167" formatCode="0.0">
                  <c:v>5.3</c:v>
                </c:pt>
                <c:pt idx="168" formatCode="General">
                  <c:v>5.6</c:v>
                </c:pt>
                <c:pt idx="169" formatCode="General">
                  <c:v>5.6</c:v>
                </c:pt>
                <c:pt idx="170" formatCode="General">
                  <c:v>5.0999999999999996</c:v>
                </c:pt>
                <c:pt idx="171" formatCode="0.0">
                  <c:v>5</c:v>
                </c:pt>
                <c:pt idx="172" formatCode="General">
                  <c:v>4.5999999999999996</c:v>
                </c:pt>
                <c:pt idx="173" formatCode="General">
                  <c:v>4.7</c:v>
                </c:pt>
                <c:pt idx="174" formatCode="General">
                  <c:v>4.7</c:v>
                </c:pt>
                <c:pt idx="175" formatCode="General">
                  <c:v>4.5</c:v>
                </c:pt>
                <c:pt idx="176" formatCode="General">
                  <c:v>3.9</c:v>
                </c:pt>
                <c:pt idx="177" formatCode="General">
                  <c:v>3.8</c:v>
                </c:pt>
                <c:pt idx="178" formatCode="General">
                  <c:v>4.0999999999999996</c:v>
                </c:pt>
                <c:pt idx="179" formatCode="0.0">
                  <c:v>4</c:v>
                </c:pt>
                <c:pt idx="180" formatCode="General">
                  <c:v>4.0999999999999996</c:v>
                </c:pt>
                <c:pt idx="181" formatCode="General">
                  <c:v>4.2</c:v>
                </c:pt>
                <c:pt idx="182" formatCode="General">
                  <c:v>4.2</c:v>
                </c:pt>
                <c:pt idx="183" formatCode="General">
                  <c:v>4.4000000000000004</c:v>
                </c:pt>
                <c:pt idx="184" formatCode="General">
                  <c:v>4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B844-4A44-B27E-CBB2340B1C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8193008"/>
        <c:axId val="-104533664"/>
      </c:lineChart>
      <c:catAx>
        <c:axId val="-188196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8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en-US"/>
          </a:p>
        </c:txPr>
        <c:crossAx val="-188193552"/>
        <c:crosses val="autoZero"/>
        <c:auto val="1"/>
        <c:lblAlgn val="ctr"/>
        <c:lblOffset val="100"/>
        <c:tickLblSkip val="12"/>
        <c:tickMarkSkip val="12"/>
        <c:noMultiLvlLbl val="0"/>
      </c:catAx>
      <c:valAx>
        <c:axId val="-188193552"/>
        <c:scaling>
          <c:orientation val="minMax"/>
          <c:max val="18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-188196816"/>
        <c:crosses val="autoZero"/>
        <c:crossBetween val="between"/>
      </c:valAx>
      <c:catAx>
        <c:axId val="-1881930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04533664"/>
        <c:crosses val="autoZero"/>
        <c:auto val="1"/>
        <c:lblAlgn val="ctr"/>
        <c:lblOffset val="100"/>
        <c:noMultiLvlLbl val="0"/>
      </c:catAx>
      <c:valAx>
        <c:axId val="-104533664"/>
        <c:scaling>
          <c:orientation val="minMax"/>
          <c:max val="18"/>
          <c:min val="0"/>
        </c:scaling>
        <c:delete val="0"/>
        <c:axPos val="r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-188193008"/>
        <c:crosses val="max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Arial Narrow" panose="020B0606020202030204" pitchFamily="34" charset="0"/>
          <a:ea typeface="Arial"/>
          <a:cs typeface="Times New Roman" panose="02020603050405020304" pitchFamily="18" charset="0"/>
        </a:defRPr>
      </a:pPr>
      <a:endParaRPr lang="en-US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8"/>
          <c:order val="8"/>
          <c:tx>
            <c:strRef>
              <c:f>'T5-4'!$J$3</c:f>
              <c:strCache>
                <c:ptCount val="1"/>
                <c:pt idx="0">
                  <c:v>2026-0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C-7022-47A8-B1CF-10197ECE2A5B}"/>
              </c:ext>
            </c:extLst>
          </c:dPt>
          <c:dPt>
            <c:idx val="1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7022-47A8-B1CF-10197ECE2A5B}"/>
              </c:ext>
            </c:extLst>
          </c:dPt>
          <c:dPt>
            <c:idx val="1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E-7022-47A8-B1CF-10197ECE2A5B}"/>
              </c:ext>
            </c:extLst>
          </c:dPt>
          <c:dPt>
            <c:idx val="24"/>
            <c:invertIfNegative val="0"/>
            <c:bubble3D val="0"/>
            <c:spPr>
              <a:pattFill prst="ltDnDiag">
                <a:fgClr>
                  <a:schemeClr val="accent5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7022-47A8-B1CF-10197ECE2A5B}"/>
              </c:ext>
            </c:extLst>
          </c:dPt>
          <c:dPt>
            <c:idx val="25"/>
            <c:invertIfNegative val="0"/>
            <c:bubble3D val="0"/>
            <c:spPr>
              <a:pattFill prst="ltUpDiag">
                <a:fgClr>
                  <a:schemeClr val="accent5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0-7022-47A8-B1CF-10197ECE2A5B}"/>
              </c:ext>
            </c:extLst>
          </c:dPt>
          <c:cat>
            <c:strRef>
              <c:f>'T5-4'!$A$4:$A$42</c:f>
              <c:strCache>
                <c:ptCount val="39"/>
                <c:pt idx="0">
                  <c:v>Rumunija</c:v>
                </c:pt>
                <c:pt idx="1">
                  <c:v>Kosovo*</c:v>
                </c:pt>
                <c:pt idx="2">
                  <c:v>Bugarska</c:v>
                </c:pt>
                <c:pt idx="3">
                  <c:v>Španija</c:v>
                </c:pt>
                <c:pt idx="4">
                  <c:v>Litvanija</c:v>
                </c:pt>
                <c:pt idx="5">
                  <c:v>S. Makedonija</c:v>
                </c:pt>
                <c:pt idx="6">
                  <c:v>Hrvatska</c:v>
                </c:pt>
                <c:pt idx="7">
                  <c:v>Grčka</c:v>
                </c:pt>
                <c:pt idx="8">
                  <c:v>Island</c:v>
                </c:pt>
                <c:pt idx="9">
                  <c:v>Luksemburg</c:v>
                </c:pt>
                <c:pt idx="10">
                  <c:v>Zapadni Balkan</c:v>
                </c:pt>
                <c:pt idx="11">
                  <c:v>CIE11</c:v>
                </c:pt>
                <c:pt idx="12">
                  <c:v>Belgija</c:v>
                </c:pt>
                <c:pt idx="13">
                  <c:v>Slovačka</c:v>
                </c:pt>
                <c:pt idx="14">
                  <c:v>Srbija</c:v>
                </c:pt>
                <c:pt idx="15">
                  <c:v>Slovenija</c:v>
                </c:pt>
                <c:pt idx="16">
                  <c:v>Austrija</c:v>
                </c:pt>
                <c:pt idx="17">
                  <c:v>Estonija</c:v>
                </c:pt>
                <c:pt idx="18">
                  <c:v>Irska</c:v>
                </c:pt>
                <c:pt idx="19">
                  <c:v>Kipar</c:v>
                </c:pt>
                <c:pt idx="20">
                  <c:v>Letonija</c:v>
                </c:pt>
                <c:pt idx="21">
                  <c:v>Crna Gora</c:v>
                </c:pt>
                <c:pt idx="22">
                  <c:v>Holandija</c:v>
                </c:pt>
                <c:pt idx="23">
                  <c:v>Poljska</c:v>
                </c:pt>
                <c:pt idx="24">
                  <c:v>EU27</c:v>
                </c:pt>
                <c:pt idx="25">
                  <c:v>Evrozona</c:v>
                </c:pt>
                <c:pt idx="26">
                  <c:v>Italija</c:v>
                </c:pt>
                <c:pt idx="27">
                  <c:v>Norveška</c:v>
                </c:pt>
                <c:pt idx="28">
                  <c:v>Portugal</c:v>
                </c:pt>
                <c:pt idx="29">
                  <c:v>Albanija</c:v>
                </c:pt>
                <c:pt idx="30">
                  <c:v>Francuska</c:v>
                </c:pt>
                <c:pt idx="31">
                  <c:v>Finska</c:v>
                </c:pt>
                <c:pt idx="32">
                  <c:v>Nemačka</c:v>
                </c:pt>
                <c:pt idx="33">
                  <c:v>Mađarska</c:v>
                </c:pt>
                <c:pt idx="34">
                  <c:v>Malta</c:v>
                </c:pt>
                <c:pt idx="35">
                  <c:v>Češla</c:v>
                </c:pt>
                <c:pt idx="36">
                  <c:v>Danska</c:v>
                </c:pt>
                <c:pt idx="37">
                  <c:v>Švedska</c:v>
                </c:pt>
                <c:pt idx="38">
                  <c:v>Švajcarska</c:v>
                </c:pt>
              </c:strCache>
            </c:strRef>
          </c:cat>
          <c:val>
            <c:numRef>
              <c:f>'T5-4'!$J$4:$J$42</c:f>
              <c:numCache>
                <c:formatCode>0.0</c:formatCode>
                <c:ptCount val="39"/>
                <c:pt idx="0">
                  <c:v>9.6999999999999993</c:v>
                </c:pt>
                <c:pt idx="1">
                  <c:v>6.8</c:v>
                </c:pt>
                <c:pt idx="2">
                  <c:v>6.3</c:v>
                </c:pt>
                <c:pt idx="3">
                  <c:v>6</c:v>
                </c:pt>
                <c:pt idx="4">
                  <c:v>5.0999999999999996</c:v>
                </c:pt>
                <c:pt idx="5">
                  <c:v>4.9000000000000004</c:v>
                </c:pt>
                <c:pt idx="6">
                  <c:v>4.9000000000000004</c:v>
                </c:pt>
                <c:pt idx="7">
                  <c:v>4.9000000000000004</c:v>
                </c:pt>
                <c:pt idx="8">
                  <c:v>4.8</c:v>
                </c:pt>
                <c:pt idx="9">
                  <c:v>4.5</c:v>
                </c:pt>
                <c:pt idx="10">
                  <c:v>4.4749999999999996</c:v>
                </c:pt>
                <c:pt idx="11">
                  <c:v>4.3909090909090898</c:v>
                </c:pt>
                <c:pt idx="12">
                  <c:v>4</c:v>
                </c:pt>
                <c:pt idx="13">
                  <c:v>4</c:v>
                </c:pt>
                <c:pt idx="14">
                  <c:v>3.8</c:v>
                </c:pt>
                <c:pt idx="15">
                  <c:v>3.8</c:v>
                </c:pt>
                <c:pt idx="16">
                  <c:v>3.7</c:v>
                </c:pt>
                <c:pt idx="17">
                  <c:v>3.6</c:v>
                </c:pt>
                <c:pt idx="18">
                  <c:v>3.5</c:v>
                </c:pt>
                <c:pt idx="19">
                  <c:v>3.5</c:v>
                </c:pt>
                <c:pt idx="20">
                  <c:v>3.5</c:v>
                </c:pt>
                <c:pt idx="21">
                  <c:v>3.4</c:v>
                </c:pt>
                <c:pt idx="22">
                  <c:v>3.4</c:v>
                </c:pt>
                <c:pt idx="23">
                  <c:v>3.3</c:v>
                </c:pt>
                <c:pt idx="24">
                  <c:v>3.3</c:v>
                </c:pt>
                <c:pt idx="25">
                  <c:v>3.2</c:v>
                </c:pt>
                <c:pt idx="26">
                  <c:v>3.2</c:v>
                </c:pt>
                <c:pt idx="27">
                  <c:v>3.1</c:v>
                </c:pt>
                <c:pt idx="28">
                  <c:v>3.1</c:v>
                </c:pt>
                <c:pt idx="29">
                  <c:v>2.8</c:v>
                </c:pt>
                <c:pt idx="30">
                  <c:v>2.8</c:v>
                </c:pt>
                <c:pt idx="31">
                  <c:v>2.8</c:v>
                </c:pt>
                <c:pt idx="32">
                  <c:v>2.7</c:v>
                </c:pt>
                <c:pt idx="33">
                  <c:v>2.2999999999999998</c:v>
                </c:pt>
                <c:pt idx="34">
                  <c:v>2.1</c:v>
                </c:pt>
                <c:pt idx="35">
                  <c:v>1.8</c:v>
                </c:pt>
                <c:pt idx="36">
                  <c:v>1.8</c:v>
                </c:pt>
                <c:pt idx="37">
                  <c:v>1.1000000000000001</c:v>
                </c:pt>
                <c:pt idx="38">
                  <c:v>0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B-7022-47A8-B1CF-10197ECE2A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-104545088"/>
        <c:axId val="-104545632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T5-4'!$B$3</c15:sqref>
                        </c15:formulaRef>
                      </c:ext>
                    </c:extLst>
                    <c:strCache>
                      <c:ptCount val="1"/>
                      <c:pt idx="0">
                        <c:v>2025-09</c:v>
                      </c:pt>
                    </c:strCache>
                  </c:strRef>
                </c:tx>
                <c:spPr>
                  <a:solidFill>
                    <a:srgbClr val="0070C0">
                      <a:alpha val="96000"/>
                    </a:srgbClr>
                  </a:solidFill>
                  <a:ln>
                    <a:noFill/>
                  </a:ln>
                  <a:effectLst/>
                </c:spPr>
                <c:invertIfNegative val="0"/>
                <c:dPt>
                  <c:idx val="0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4-C9F7-4324-A9A9-9323CD6D79E2}"/>
                    </c:ext>
                  </c:extLst>
                </c:dPt>
                <c:dPt>
                  <c:idx val="1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1-C9F7-4324-A9A9-9323CD6D79E2}"/>
                    </c:ext>
                  </c:extLst>
                </c:dPt>
                <c:dPt>
                  <c:idx val="2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A-9504-4FF4-AD82-381ABED4384A}"/>
                    </c:ext>
                  </c:extLst>
                </c:dPt>
                <c:dPt>
                  <c:idx val="4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5-2156-4BA3-BB93-1CF835A55A77}"/>
                    </c:ext>
                  </c:extLst>
                </c:dPt>
                <c:dPt>
                  <c:idx val="6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C-FD8E-4040-880B-E839B1779505}"/>
                    </c:ext>
                  </c:extLst>
                </c:dPt>
                <c:dPt>
                  <c:idx val="8"/>
                  <c:invertIfNegative val="0"/>
                  <c:bubble3D val="0"/>
                  <c:spPr>
                    <a:solidFill>
                      <a:srgbClr val="FFC00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26-F626-4DD0-A580-1F217EDE68DD}"/>
                    </c:ext>
                  </c:extLst>
                </c:dPt>
                <c:dPt>
                  <c:idx val="9"/>
                  <c:invertIfNegative val="0"/>
                  <c:bubble3D val="0"/>
                  <c:spPr>
                    <a:solidFill>
                      <a:srgbClr val="6CA52D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D-FD8E-4040-880B-E839B1779505}"/>
                    </c:ext>
                  </c:extLst>
                </c:dPt>
                <c:dPt>
                  <c:idx val="10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5-C9F7-4324-A9A9-9323CD6D79E2}"/>
                    </c:ext>
                  </c:extLst>
                </c:dPt>
                <c:dPt>
                  <c:idx val="11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6-2156-4BA3-BB93-1CF835A55A77}"/>
                    </c:ext>
                  </c:extLst>
                </c:dPt>
                <c:dPt>
                  <c:idx val="12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B-9504-4FF4-AD82-381ABED4384A}"/>
                    </c:ext>
                  </c:extLst>
                </c:dPt>
                <c:dPt>
                  <c:idx val="14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8-2156-4BA3-BB93-1CF835A55A77}"/>
                    </c:ext>
                  </c:extLst>
                </c:dPt>
                <c:dPt>
                  <c:idx val="15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9-C6A2-48CE-924D-5872F7926F61}"/>
                    </c:ext>
                  </c:extLst>
                </c:dPt>
                <c:dPt>
                  <c:idx val="17"/>
                  <c:invertIfNegative val="0"/>
                  <c:bubble3D val="0"/>
                  <c:spPr>
                    <a:solidFill>
                      <a:srgbClr val="C0000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F-FD8E-4040-880B-E839B1779505}"/>
                    </c:ext>
                  </c:extLst>
                </c:dPt>
                <c:dPt>
                  <c:idx val="18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D-9504-4FF4-AD82-381ABED4384A}"/>
                    </c:ext>
                  </c:extLst>
                </c:dPt>
                <c:dPt>
                  <c:idx val="19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C-9504-4FF4-AD82-381ABED4384A}"/>
                    </c:ext>
                  </c:extLst>
                </c:dPt>
                <c:dPt>
                  <c:idx val="20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7-2156-4BA3-BB93-1CF835A55A77}"/>
                    </c:ext>
                  </c:extLst>
                </c:dPt>
                <c:dPt>
                  <c:idx val="21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A-8158-49B1-B4AB-1C65534203DE}"/>
                    </c:ext>
                  </c:extLst>
                </c:dPt>
                <c:dPt>
                  <c:idx val="25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06-C9F7-4324-A9A9-9323CD6D79E2}"/>
                    </c:ext>
                  </c:extLst>
                </c:dPt>
                <c:dPt>
                  <c:idx val="26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1E-FD8E-4040-880B-E839B1779505}"/>
                    </c:ext>
                  </c:extLst>
                </c:dPt>
                <c:dPt>
                  <c:idx val="31"/>
                  <c:invertIfNegative val="0"/>
                  <c:bubble3D val="0"/>
                  <c:spPr>
                    <a:solidFill>
                      <a:srgbClr val="FFFF0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>
                    <c:ext xmlns:c16="http://schemas.microsoft.com/office/drawing/2014/chart" uri="{C3380CC4-5D6E-409C-BE32-E72D297353CC}">
                      <c16:uniqueId val="{00000026-717A-4C02-8156-30F8C4C218F3}"/>
                    </c:ext>
                  </c:extLst>
                </c:dPt>
                <c:cat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T5-4'!$B$4:$B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8.6</c:v>
                      </c:pt>
                      <c:pt idx="1">
                        <c:v>4.7</c:v>
                      </c:pt>
                      <c:pt idx="2">
                        <c:v>4</c:v>
                      </c:pt>
                      <c:pt idx="3">
                        <c:v>3</c:v>
                      </c:pt>
                      <c:pt idx="4">
                        <c:v>3.7</c:v>
                      </c:pt>
                      <c:pt idx="5">
                        <c:v>3.3</c:v>
                      </c:pt>
                      <c:pt idx="6">
                        <c:v>4.5999999999999996</c:v>
                      </c:pt>
                      <c:pt idx="7">
                        <c:v>1.8</c:v>
                      </c:pt>
                      <c:pt idx="8">
                        <c:v>4.2</c:v>
                      </c:pt>
                      <c:pt idx="9">
                        <c:v>3.1</c:v>
                      </c:pt>
                      <c:pt idx="10">
                        <c:v>3.75</c:v>
                      </c:pt>
                      <c:pt idx="11">
                        <c:v>3.8818181818181814</c:v>
                      </c:pt>
                      <c:pt idx="12">
                        <c:v>2.7</c:v>
                      </c:pt>
                      <c:pt idx="13">
                        <c:v>4.5999999999999996</c:v>
                      </c:pt>
                      <c:pt idx="14">
                        <c:v>3.2</c:v>
                      </c:pt>
                      <c:pt idx="15">
                        <c:v>2.8</c:v>
                      </c:pt>
                      <c:pt idx="16">
                        <c:v>3.9</c:v>
                      </c:pt>
                      <c:pt idx="17">
                        <c:v>5.3</c:v>
                      </c:pt>
                      <c:pt idx="18">
                        <c:v>2.7</c:v>
                      </c:pt>
                      <c:pt idx="19">
                        <c:v>0</c:v>
                      </c:pt>
                      <c:pt idx="20">
                        <c:v>4.2</c:v>
                      </c:pt>
                      <c:pt idx="21">
                        <c:v>4.7</c:v>
                      </c:pt>
                      <c:pt idx="22">
                        <c:v>3</c:v>
                      </c:pt>
                      <c:pt idx="23">
                        <c:v>2.9</c:v>
                      </c:pt>
                      <c:pt idx="24">
                        <c:v>2.6</c:v>
                      </c:pt>
                      <c:pt idx="25">
                        <c:v>2.2000000000000002</c:v>
                      </c:pt>
                      <c:pt idx="26">
                        <c:v>1.7</c:v>
                      </c:pt>
                      <c:pt idx="27">
                        <c:v>3.6</c:v>
                      </c:pt>
                      <c:pt idx="28">
                        <c:v>1.9</c:v>
                      </c:pt>
                      <c:pt idx="29">
                        <c:v>2.2999999999999998</c:v>
                      </c:pt>
                      <c:pt idx="30">
                        <c:v>1.1000000000000001</c:v>
                      </c:pt>
                      <c:pt idx="31">
                        <c:v>2.2000000000000002</c:v>
                      </c:pt>
                      <c:pt idx="32">
                        <c:v>2.2999999999999998</c:v>
                      </c:pt>
                      <c:pt idx="33">
                        <c:v>4.3</c:v>
                      </c:pt>
                      <c:pt idx="34">
                        <c:v>2.4</c:v>
                      </c:pt>
                      <c:pt idx="35">
                        <c:v>2</c:v>
                      </c:pt>
                      <c:pt idx="36">
                        <c:v>2.2000000000000002</c:v>
                      </c:pt>
                      <c:pt idx="37">
                        <c:v>3.2</c:v>
                      </c:pt>
                      <c:pt idx="38">
                        <c:v>0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C9F7-4324-A9A9-9323CD6D79E2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C$3</c15:sqref>
                        </c15:formulaRef>
                      </c:ext>
                    </c:extLst>
                    <c:strCache>
                      <c:ptCount val="1"/>
                      <c:pt idx="0">
                        <c:v>2025-10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C$4:$C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8.4</c:v>
                      </c:pt>
                      <c:pt idx="1">
                        <c:v>5.0999999999999996</c:v>
                      </c:pt>
                      <c:pt idx="2">
                        <c:v>3.8</c:v>
                      </c:pt>
                      <c:pt idx="3">
                        <c:v>3.2</c:v>
                      </c:pt>
                      <c:pt idx="4">
                        <c:v>3.7</c:v>
                      </c:pt>
                      <c:pt idx="5">
                        <c:v>4.4000000000000004</c:v>
                      </c:pt>
                      <c:pt idx="6">
                        <c:v>4</c:v>
                      </c:pt>
                      <c:pt idx="7">
                        <c:v>1.6</c:v>
                      </c:pt>
                      <c:pt idx="8">
                        <c:v>3.9</c:v>
                      </c:pt>
                      <c:pt idx="9">
                        <c:v>3</c:v>
                      </c:pt>
                      <c:pt idx="10">
                        <c:v>4.0749999999999993</c:v>
                      </c:pt>
                      <c:pt idx="11">
                        <c:v>3.709090909090909</c:v>
                      </c:pt>
                      <c:pt idx="12">
                        <c:v>2.5</c:v>
                      </c:pt>
                      <c:pt idx="13">
                        <c:v>3.9</c:v>
                      </c:pt>
                      <c:pt idx="14">
                        <c:v>3.1</c:v>
                      </c:pt>
                      <c:pt idx="15">
                        <c:v>3.1</c:v>
                      </c:pt>
                      <c:pt idx="16">
                        <c:v>4</c:v>
                      </c:pt>
                      <c:pt idx="17">
                        <c:v>4.5</c:v>
                      </c:pt>
                      <c:pt idx="18">
                        <c:v>2.8</c:v>
                      </c:pt>
                      <c:pt idx="19">
                        <c:v>0.2</c:v>
                      </c:pt>
                      <c:pt idx="20">
                        <c:v>4.3</c:v>
                      </c:pt>
                      <c:pt idx="21">
                        <c:v>4.5999999999999996</c:v>
                      </c:pt>
                      <c:pt idx="22">
                        <c:v>3</c:v>
                      </c:pt>
                      <c:pt idx="23">
                        <c:v>2.8</c:v>
                      </c:pt>
                      <c:pt idx="24">
                        <c:v>2.5</c:v>
                      </c:pt>
                      <c:pt idx="25">
                        <c:v>2.1</c:v>
                      </c:pt>
                      <c:pt idx="26">
                        <c:v>1.3</c:v>
                      </c:pt>
                      <c:pt idx="27">
                        <c:v>2.9</c:v>
                      </c:pt>
                      <c:pt idx="28">
                        <c:v>2</c:v>
                      </c:pt>
                      <c:pt idx="29">
                        <c:v>2.2000000000000002</c:v>
                      </c:pt>
                      <c:pt idx="30">
                        <c:v>0.8</c:v>
                      </c:pt>
                      <c:pt idx="31">
                        <c:v>1.4</c:v>
                      </c:pt>
                      <c:pt idx="32">
                        <c:v>2.2999999999999998</c:v>
                      </c:pt>
                      <c:pt idx="33">
                        <c:v>4.2</c:v>
                      </c:pt>
                      <c:pt idx="34">
                        <c:v>2.5</c:v>
                      </c:pt>
                      <c:pt idx="35">
                        <c:v>2.2999999999999998</c:v>
                      </c:pt>
                      <c:pt idx="36">
                        <c:v>2.1</c:v>
                      </c:pt>
                      <c:pt idx="37">
                        <c:v>3.1</c:v>
                      </c:pt>
                      <c:pt idx="38">
                        <c:v>0.1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28-E134-40A6-8309-028133D9D417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D$3</c15:sqref>
                        </c15:formulaRef>
                      </c:ext>
                    </c:extLst>
                    <c:strCache>
                      <c:ptCount val="1"/>
                      <c:pt idx="0">
                        <c:v>2025-11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D$4:$D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8.6</c:v>
                      </c:pt>
                      <c:pt idx="1">
                        <c:v>5.3</c:v>
                      </c:pt>
                      <c:pt idx="2">
                        <c:v>3.7</c:v>
                      </c:pt>
                      <c:pt idx="3">
                        <c:v>3.2</c:v>
                      </c:pt>
                      <c:pt idx="4">
                        <c:v>3.6</c:v>
                      </c:pt>
                      <c:pt idx="5">
                        <c:v>3.6</c:v>
                      </c:pt>
                      <c:pt idx="6">
                        <c:v>4.3</c:v>
                      </c:pt>
                      <c:pt idx="7">
                        <c:v>2.8</c:v>
                      </c:pt>
                      <c:pt idx="8">
                        <c:v>3.4</c:v>
                      </c:pt>
                      <c:pt idx="9">
                        <c:v>3.5</c:v>
                      </c:pt>
                      <c:pt idx="10">
                        <c:v>3.7249999999999996</c:v>
                      </c:pt>
                      <c:pt idx="11">
                        <c:v>3.5818181818181816</c:v>
                      </c:pt>
                      <c:pt idx="12">
                        <c:v>2.6</c:v>
                      </c:pt>
                      <c:pt idx="13">
                        <c:v>3.9</c:v>
                      </c:pt>
                      <c:pt idx="14">
                        <c:v>3.1</c:v>
                      </c:pt>
                      <c:pt idx="15">
                        <c:v>2.4</c:v>
                      </c:pt>
                      <c:pt idx="16">
                        <c:v>4</c:v>
                      </c:pt>
                      <c:pt idx="17">
                        <c:v>4.7</c:v>
                      </c:pt>
                      <c:pt idx="18">
                        <c:v>3.1</c:v>
                      </c:pt>
                      <c:pt idx="19">
                        <c:v>0.1</c:v>
                      </c:pt>
                      <c:pt idx="20">
                        <c:v>3.8</c:v>
                      </c:pt>
                      <c:pt idx="21">
                        <c:v>3.9</c:v>
                      </c:pt>
                      <c:pt idx="22">
                        <c:v>2.6</c:v>
                      </c:pt>
                      <c:pt idx="23">
                        <c:v>2.6</c:v>
                      </c:pt>
                      <c:pt idx="24">
                        <c:v>2.4</c:v>
                      </c:pt>
                      <c:pt idx="25">
                        <c:v>2.1</c:v>
                      </c:pt>
                      <c:pt idx="26">
                        <c:v>1.1000000000000001</c:v>
                      </c:pt>
                      <c:pt idx="27">
                        <c:v>2.7</c:v>
                      </c:pt>
                      <c:pt idx="28">
                        <c:v>2.1</c:v>
                      </c:pt>
                      <c:pt idx="29">
                        <c:v>2.1</c:v>
                      </c:pt>
                      <c:pt idx="30">
                        <c:v>0.8</c:v>
                      </c:pt>
                      <c:pt idx="31">
                        <c:v>1.5</c:v>
                      </c:pt>
                      <c:pt idx="32">
                        <c:v>2.5</c:v>
                      </c:pt>
                      <c:pt idx="33">
                        <c:v>3.7</c:v>
                      </c:pt>
                      <c:pt idx="34">
                        <c:v>2.4</c:v>
                      </c:pt>
                      <c:pt idx="35">
                        <c:v>1.8</c:v>
                      </c:pt>
                      <c:pt idx="36">
                        <c:v>2</c:v>
                      </c:pt>
                      <c:pt idx="37">
                        <c:v>2.2000000000000002</c:v>
                      </c:pt>
                      <c:pt idx="38">
                        <c:v>0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29-E134-40A6-8309-028133D9D417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E$3</c15:sqref>
                        </c15:formulaRef>
                      </c:ext>
                    </c:extLst>
                    <c:strCache>
                      <c:ptCount val="1"/>
                      <c:pt idx="0">
                        <c:v>2025-12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E$4:$E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8.6</c:v>
                      </c:pt>
                      <c:pt idx="1">
                        <c:v>5.3</c:v>
                      </c:pt>
                      <c:pt idx="2">
                        <c:v>3.5</c:v>
                      </c:pt>
                      <c:pt idx="3">
                        <c:v>3</c:v>
                      </c:pt>
                      <c:pt idx="4">
                        <c:v>3.2</c:v>
                      </c:pt>
                      <c:pt idx="5">
                        <c:v>3.6</c:v>
                      </c:pt>
                      <c:pt idx="6">
                        <c:v>3.8</c:v>
                      </c:pt>
                      <c:pt idx="7">
                        <c:v>2.9</c:v>
                      </c:pt>
                      <c:pt idx="8">
                        <c:v>4</c:v>
                      </c:pt>
                      <c:pt idx="9">
                        <c:v>3.3</c:v>
                      </c:pt>
                      <c:pt idx="10">
                        <c:v>3.6749999999999998</c:v>
                      </c:pt>
                      <c:pt idx="11">
                        <c:v>3.4090909090909092</c:v>
                      </c:pt>
                      <c:pt idx="12">
                        <c:v>2.2000000000000002</c:v>
                      </c:pt>
                      <c:pt idx="13">
                        <c:v>4.0999999999999996</c:v>
                      </c:pt>
                      <c:pt idx="14">
                        <c:v>3</c:v>
                      </c:pt>
                      <c:pt idx="15">
                        <c:v>2.6</c:v>
                      </c:pt>
                      <c:pt idx="16">
                        <c:v>3.8</c:v>
                      </c:pt>
                      <c:pt idx="17">
                        <c:v>4</c:v>
                      </c:pt>
                      <c:pt idx="18">
                        <c:v>2.7</c:v>
                      </c:pt>
                      <c:pt idx="19">
                        <c:v>0.1</c:v>
                      </c:pt>
                      <c:pt idx="20">
                        <c:v>3.4</c:v>
                      </c:pt>
                      <c:pt idx="21">
                        <c:v>3.7</c:v>
                      </c:pt>
                      <c:pt idx="22">
                        <c:v>2.7</c:v>
                      </c:pt>
                      <c:pt idx="23">
                        <c:v>2.6</c:v>
                      </c:pt>
                      <c:pt idx="24">
                        <c:v>2.2999999999999998</c:v>
                      </c:pt>
                      <c:pt idx="25">
                        <c:v>2</c:v>
                      </c:pt>
                      <c:pt idx="26">
                        <c:v>1.2</c:v>
                      </c:pt>
                      <c:pt idx="27">
                        <c:v>3</c:v>
                      </c:pt>
                      <c:pt idx="28">
                        <c:v>2.4</c:v>
                      </c:pt>
                      <c:pt idx="29">
                        <c:v>2.1</c:v>
                      </c:pt>
                      <c:pt idx="30">
                        <c:v>0.7</c:v>
                      </c:pt>
                      <c:pt idx="31">
                        <c:v>1.7</c:v>
                      </c:pt>
                      <c:pt idx="32">
                        <c:v>2</c:v>
                      </c:pt>
                      <c:pt idx="33">
                        <c:v>3.3</c:v>
                      </c:pt>
                      <c:pt idx="34">
                        <c:v>2.5</c:v>
                      </c:pt>
                      <c:pt idx="35">
                        <c:v>1.7</c:v>
                      </c:pt>
                      <c:pt idx="36">
                        <c:v>1.9</c:v>
                      </c:pt>
                      <c:pt idx="37">
                        <c:v>2.1</c:v>
                      </c:pt>
                      <c:pt idx="38">
                        <c:v>0.2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2A-E134-40A6-8309-028133D9D417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F$3</c15:sqref>
                        </c15:formulaRef>
                      </c:ext>
                    </c:extLst>
                    <c:strCache>
                      <c:ptCount val="1"/>
                      <c:pt idx="0">
                        <c:v>2026-01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Pt>
                  <c:idx val="7"/>
                  <c:invertIfNegative val="0"/>
                  <c:bubble3D val="0"/>
                  <c:spPr>
                    <a:solidFill>
                      <a:schemeClr val="accent5"/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2C-E134-40A6-8309-028133D9D417}"/>
                    </c:ext>
                  </c:extLst>
                </c:dPt>
                <c:dPt>
                  <c:idx val="8"/>
                  <c:invertIfNegative val="0"/>
                  <c:bubble3D val="0"/>
                  <c:spPr>
                    <a:solidFill>
                      <a:srgbClr val="92D050"/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2D-E134-40A6-8309-028133D9D417}"/>
                    </c:ext>
                  </c:extLst>
                </c:dPt>
                <c:dPt>
                  <c:idx val="12"/>
                  <c:invertIfNegative val="0"/>
                  <c:bubble3D val="0"/>
                  <c:spPr>
                    <a:solidFill>
                      <a:schemeClr val="accent6"/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30-D782-4020-BB56-58132A964F64}"/>
                    </c:ext>
                  </c:extLst>
                </c:dPt>
                <c:dPt>
                  <c:idx val="14"/>
                  <c:invertIfNegative val="0"/>
                  <c:bubble3D val="0"/>
                  <c:spPr>
                    <a:solidFill>
                      <a:schemeClr val="accent5"/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2E-E134-40A6-8309-028133D9D417}"/>
                    </c:ext>
                  </c:extLst>
                </c:dPt>
                <c:dPt>
                  <c:idx val="15"/>
                  <c:invertIfNegative val="0"/>
                  <c:bubble3D val="0"/>
                  <c:spPr>
                    <a:solidFill>
                      <a:srgbClr val="C00000"/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33-D782-4020-BB56-58132A964F64}"/>
                    </c:ext>
                  </c:extLst>
                </c:dPt>
                <c:dPt>
                  <c:idx val="22"/>
                  <c:invertIfNegative val="0"/>
                  <c:bubble3D val="0"/>
                  <c:spPr>
                    <a:pattFill prst="ltDnDiag">
                      <a:fgClr>
                        <a:schemeClr val="accent5"/>
                      </a:fgClr>
                      <a:bgClr>
                        <a:schemeClr val="bg1"/>
                      </a:bgClr>
                    </a:patt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31-D782-4020-BB56-58132A964F64}"/>
                    </c:ext>
                  </c:extLst>
                </c:dPt>
                <c:dPt>
                  <c:idx val="24"/>
                  <c:invertIfNegative val="0"/>
                  <c:bubble3D val="0"/>
                  <c:spPr>
                    <a:pattFill prst="ltUpDiag">
                      <a:fgClr>
                        <a:schemeClr val="accent5"/>
                      </a:fgClr>
                      <a:bgClr>
                        <a:schemeClr val="bg1"/>
                      </a:bgClr>
                    </a:patt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32-D782-4020-BB56-58132A964F64}"/>
                    </c:ext>
                  </c:extLst>
                </c:dPt>
                <c:dPt>
                  <c:idx val="28"/>
                  <c:invertIfNegative val="0"/>
                  <c:bubble3D val="0"/>
                  <c:spPr>
                    <a:solidFill>
                      <a:schemeClr val="accent5"/>
                    </a:solidFill>
                    <a:ln>
                      <a:noFill/>
                    </a:ln>
                    <a:effectLst/>
                  </c:spPr>
                  <c:extLst xmlns:c16r2="http://schemas.microsoft.com/office/drawing/2015/06/chart" xmlns:c15="http://schemas.microsoft.com/office/drawing/2012/chart">
                    <c:ext xmlns:c16="http://schemas.microsoft.com/office/drawing/2014/chart" uri="{C3380CC4-5D6E-409C-BE32-E72D297353CC}">
                      <c16:uniqueId val="{0000002F-E134-40A6-8309-028133D9D417}"/>
                    </c:ext>
                  </c:extLst>
                </c:dPt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F$4:$F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8.5</c:v>
                      </c:pt>
                      <c:pt idx="1">
                        <c:v>5.8</c:v>
                      </c:pt>
                      <c:pt idx="2">
                        <c:v>2.2999999999999998</c:v>
                      </c:pt>
                      <c:pt idx="3">
                        <c:v>2.4</c:v>
                      </c:pt>
                      <c:pt idx="4">
                        <c:v>2.8</c:v>
                      </c:pt>
                      <c:pt idx="5">
                        <c:v>2.9</c:v>
                      </c:pt>
                      <c:pt idx="6">
                        <c:v>3.6</c:v>
                      </c:pt>
                      <c:pt idx="7">
                        <c:v>2.9</c:v>
                      </c:pt>
                      <c:pt idx="8">
                        <c:v>4.4000000000000004</c:v>
                      </c:pt>
                      <c:pt idx="9">
                        <c:v>1.6</c:v>
                      </c:pt>
                      <c:pt idx="10">
                        <c:v>3.375</c:v>
                      </c:pt>
                      <c:pt idx="11">
                        <c:v>3.1181818181818177</c:v>
                      </c:pt>
                      <c:pt idx="12">
                        <c:v>1.4</c:v>
                      </c:pt>
                      <c:pt idx="13">
                        <c:v>4.3</c:v>
                      </c:pt>
                      <c:pt idx="14">
                        <c:v>2.7</c:v>
                      </c:pt>
                      <c:pt idx="15">
                        <c:v>2.4</c:v>
                      </c:pt>
                      <c:pt idx="16">
                        <c:v>2.1</c:v>
                      </c:pt>
                      <c:pt idx="17">
                        <c:v>3.8</c:v>
                      </c:pt>
                      <c:pt idx="18">
                        <c:v>2.5</c:v>
                      </c:pt>
                      <c:pt idx="19">
                        <c:v>1.2</c:v>
                      </c:pt>
                      <c:pt idx="20">
                        <c:v>2.9</c:v>
                      </c:pt>
                      <c:pt idx="21">
                        <c:v>2.7</c:v>
                      </c:pt>
                      <c:pt idx="22">
                        <c:v>2.2000000000000002</c:v>
                      </c:pt>
                      <c:pt idx="23">
                        <c:v>2.5</c:v>
                      </c:pt>
                      <c:pt idx="24">
                        <c:v>2</c:v>
                      </c:pt>
                      <c:pt idx="25">
                        <c:v>1.7</c:v>
                      </c:pt>
                      <c:pt idx="26">
                        <c:v>1</c:v>
                      </c:pt>
                      <c:pt idx="27">
                        <c:v>3.5</c:v>
                      </c:pt>
                      <c:pt idx="28">
                        <c:v>1.9</c:v>
                      </c:pt>
                      <c:pt idx="29">
                        <c:v>2.1</c:v>
                      </c:pt>
                      <c:pt idx="30">
                        <c:v>0.4</c:v>
                      </c:pt>
                      <c:pt idx="31">
                        <c:v>1</c:v>
                      </c:pt>
                      <c:pt idx="32">
                        <c:v>2.1</c:v>
                      </c:pt>
                      <c:pt idx="33">
                        <c:v>2.2999999999999998</c:v>
                      </c:pt>
                      <c:pt idx="34">
                        <c:v>2.2999999999999998</c:v>
                      </c:pt>
                      <c:pt idx="35">
                        <c:v>1.2</c:v>
                      </c:pt>
                      <c:pt idx="36">
                        <c:v>0.6</c:v>
                      </c:pt>
                      <c:pt idx="37">
                        <c:v>2</c:v>
                      </c:pt>
                      <c:pt idx="38">
                        <c:v>0.2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2B-E134-40A6-8309-028133D9D417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G$3</c15:sqref>
                        </c15:formulaRef>
                      </c:ext>
                    </c:extLst>
                    <c:strCache>
                      <c:ptCount val="1"/>
                      <c:pt idx="0">
                        <c:v>2026-02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G$4:$G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8.3000000000000007</c:v>
                      </c:pt>
                      <c:pt idx="1">
                        <c:v>5.8</c:v>
                      </c:pt>
                      <c:pt idx="2">
                        <c:v>2.1</c:v>
                      </c:pt>
                      <c:pt idx="3">
                        <c:v>2.5</c:v>
                      </c:pt>
                      <c:pt idx="4">
                        <c:v>3.3</c:v>
                      </c:pt>
                      <c:pt idx="5">
                        <c:v>2.6</c:v>
                      </c:pt>
                      <c:pt idx="6">
                        <c:v>3.9</c:v>
                      </c:pt>
                      <c:pt idx="7">
                        <c:v>3.1</c:v>
                      </c:pt>
                      <c:pt idx="8">
                        <c:v>4.7</c:v>
                      </c:pt>
                      <c:pt idx="9">
                        <c:v>1.8</c:v>
                      </c:pt>
                      <c:pt idx="10">
                        <c:v>3.3250000000000002</c:v>
                      </c:pt>
                      <c:pt idx="11">
                        <c:v>3.0454545454545454</c:v>
                      </c:pt>
                      <c:pt idx="12">
                        <c:v>1.4</c:v>
                      </c:pt>
                      <c:pt idx="13">
                        <c:v>4</c:v>
                      </c:pt>
                      <c:pt idx="14">
                        <c:v>2.6</c:v>
                      </c:pt>
                      <c:pt idx="15">
                        <c:v>2.8</c:v>
                      </c:pt>
                      <c:pt idx="16">
                        <c:v>2.2999999999999998</c:v>
                      </c:pt>
                      <c:pt idx="17">
                        <c:v>3.2</c:v>
                      </c:pt>
                      <c:pt idx="18">
                        <c:v>2.5</c:v>
                      </c:pt>
                      <c:pt idx="19">
                        <c:v>0.9</c:v>
                      </c:pt>
                      <c:pt idx="20">
                        <c:v>2.4</c:v>
                      </c:pt>
                      <c:pt idx="21">
                        <c:v>2.6</c:v>
                      </c:pt>
                      <c:pt idx="22">
                        <c:v>2.2999999999999998</c:v>
                      </c:pt>
                      <c:pt idx="23">
                        <c:v>2.5</c:v>
                      </c:pt>
                      <c:pt idx="24">
                        <c:v>2.1</c:v>
                      </c:pt>
                      <c:pt idx="25">
                        <c:v>1.9</c:v>
                      </c:pt>
                      <c:pt idx="26">
                        <c:v>1.5</c:v>
                      </c:pt>
                      <c:pt idx="27">
                        <c:v>2.6</c:v>
                      </c:pt>
                      <c:pt idx="28">
                        <c:v>2.1</c:v>
                      </c:pt>
                      <c:pt idx="29">
                        <c:v>2.2999999999999998</c:v>
                      </c:pt>
                      <c:pt idx="30">
                        <c:v>1.1000000000000001</c:v>
                      </c:pt>
                      <c:pt idx="31">
                        <c:v>1.8</c:v>
                      </c:pt>
                      <c:pt idx="32">
                        <c:v>2</c:v>
                      </c:pt>
                      <c:pt idx="33">
                        <c:v>1.6</c:v>
                      </c:pt>
                      <c:pt idx="34">
                        <c:v>2.2999999999999998</c:v>
                      </c:pt>
                      <c:pt idx="35">
                        <c:v>1</c:v>
                      </c:pt>
                      <c:pt idx="36">
                        <c:v>0.5</c:v>
                      </c:pt>
                      <c:pt idx="37">
                        <c:v>1.7</c:v>
                      </c:pt>
                      <c:pt idx="38">
                        <c:v>0.5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38-7022-47A8-B1CF-10197ECE2A5B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H$3</c15:sqref>
                        </c15:formulaRef>
                      </c:ext>
                    </c:extLst>
                    <c:strCache>
                      <c:ptCount val="1"/>
                      <c:pt idx="0">
                        <c:v>2026-03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H$4:$H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9</c:v>
                      </c:pt>
                      <c:pt idx="1">
                        <c:v>6.5</c:v>
                      </c:pt>
                      <c:pt idx="2">
                        <c:v>2.8</c:v>
                      </c:pt>
                      <c:pt idx="3">
                        <c:v>3.4</c:v>
                      </c:pt>
                      <c:pt idx="4">
                        <c:v>4.4000000000000004</c:v>
                      </c:pt>
                      <c:pt idx="5">
                        <c:v>4.9000000000000004</c:v>
                      </c:pt>
                      <c:pt idx="6">
                        <c:v>4.5999999999999996</c:v>
                      </c:pt>
                      <c:pt idx="7">
                        <c:v>3.4</c:v>
                      </c:pt>
                      <c:pt idx="8">
                        <c:v>5</c:v>
                      </c:pt>
                      <c:pt idx="9">
                        <c:v>3.8</c:v>
                      </c:pt>
                      <c:pt idx="10">
                        <c:v>4.1750000000000007</c:v>
                      </c:pt>
                      <c:pt idx="11">
                        <c:v>3.5</c:v>
                      </c:pt>
                      <c:pt idx="12">
                        <c:v>2.2000000000000002</c:v>
                      </c:pt>
                      <c:pt idx="13">
                        <c:v>3.7</c:v>
                      </c:pt>
                      <c:pt idx="14">
                        <c:v>3.1</c:v>
                      </c:pt>
                      <c:pt idx="15">
                        <c:v>2.4</c:v>
                      </c:pt>
                      <c:pt idx="16">
                        <c:v>3.2</c:v>
                      </c:pt>
                      <c:pt idx="17">
                        <c:v>3.5</c:v>
                      </c:pt>
                      <c:pt idx="18">
                        <c:v>3.6</c:v>
                      </c:pt>
                      <c:pt idx="19">
                        <c:v>1.5</c:v>
                      </c:pt>
                      <c:pt idx="20">
                        <c:v>3.4</c:v>
                      </c:pt>
                      <c:pt idx="21">
                        <c:v>2.9</c:v>
                      </c:pt>
                      <c:pt idx="22">
                        <c:v>2.6</c:v>
                      </c:pt>
                      <c:pt idx="23">
                        <c:v>3.2</c:v>
                      </c:pt>
                      <c:pt idx="24">
                        <c:v>2.8</c:v>
                      </c:pt>
                      <c:pt idx="25">
                        <c:v>2.6</c:v>
                      </c:pt>
                      <c:pt idx="26">
                        <c:v>1.6</c:v>
                      </c:pt>
                      <c:pt idx="27">
                        <c:v>3.6</c:v>
                      </c:pt>
                      <c:pt idx="28">
                        <c:v>2.7</c:v>
                      </c:pt>
                      <c:pt idx="29">
                        <c:v>2.4</c:v>
                      </c:pt>
                      <c:pt idx="30">
                        <c:v>2</c:v>
                      </c:pt>
                      <c:pt idx="31">
                        <c:v>2.5</c:v>
                      </c:pt>
                      <c:pt idx="32">
                        <c:v>2.8</c:v>
                      </c:pt>
                      <c:pt idx="33">
                        <c:v>2.1</c:v>
                      </c:pt>
                      <c:pt idx="34">
                        <c:v>2.2999999999999998</c:v>
                      </c:pt>
                      <c:pt idx="35">
                        <c:v>1.5</c:v>
                      </c:pt>
                      <c:pt idx="36">
                        <c:v>1</c:v>
                      </c:pt>
                      <c:pt idx="37">
                        <c:v>1.5</c:v>
                      </c:pt>
                      <c:pt idx="38">
                        <c:v>0.6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39-7022-47A8-B1CF-10197ECE2A5B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I$3</c15:sqref>
                        </c15:formulaRef>
                      </c:ext>
                    </c:extLst>
                    <c:strCache>
                      <c:ptCount val="1"/>
                      <c:pt idx="0">
                        <c:v>2026-04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2</c15:sqref>
                        </c15:formulaRef>
                      </c:ext>
                    </c:extLst>
                    <c:strCache>
                      <c:ptCount val="39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Bugarska</c:v>
                      </c:pt>
                      <c:pt idx="3">
                        <c:v>Španija</c:v>
                      </c:pt>
                      <c:pt idx="4">
                        <c:v>Litvanija</c:v>
                      </c:pt>
                      <c:pt idx="5">
                        <c:v>S. Makedonija</c:v>
                      </c:pt>
                      <c:pt idx="6">
                        <c:v>Hrvatska</c:v>
                      </c:pt>
                      <c:pt idx="7">
                        <c:v>Grčka</c:v>
                      </c:pt>
                      <c:pt idx="8">
                        <c:v>Island</c:v>
                      </c:pt>
                      <c:pt idx="9">
                        <c:v>Luksemburg</c:v>
                      </c:pt>
                      <c:pt idx="10">
                        <c:v>Zapadni Balkan</c:v>
                      </c:pt>
                      <c:pt idx="11">
                        <c:v>CIE11</c:v>
                      </c:pt>
                      <c:pt idx="12">
                        <c:v>Belgija</c:v>
                      </c:pt>
                      <c:pt idx="13">
                        <c:v>Slovačka</c:v>
                      </c:pt>
                      <c:pt idx="14">
                        <c:v>Srbija</c:v>
                      </c:pt>
                      <c:pt idx="15">
                        <c:v>Slovenija</c:v>
                      </c:pt>
                      <c:pt idx="16">
                        <c:v>Austrija</c:v>
                      </c:pt>
                      <c:pt idx="17">
                        <c:v>Estonija</c:v>
                      </c:pt>
                      <c:pt idx="18">
                        <c:v>Irska</c:v>
                      </c:pt>
                      <c:pt idx="19">
                        <c:v>Kipar</c:v>
                      </c:pt>
                      <c:pt idx="20">
                        <c:v>Letonija</c:v>
                      </c:pt>
                      <c:pt idx="21">
                        <c:v>Crna Gora</c:v>
                      </c:pt>
                      <c:pt idx="22">
                        <c:v>Holandija</c:v>
                      </c:pt>
                      <c:pt idx="23">
                        <c:v>Poljska</c:v>
                      </c:pt>
                      <c:pt idx="24">
                        <c:v>EU27</c:v>
                      </c:pt>
                      <c:pt idx="25">
                        <c:v>Evrozona</c:v>
                      </c:pt>
                      <c:pt idx="26">
                        <c:v>Italija</c:v>
                      </c:pt>
                      <c:pt idx="27">
                        <c:v>Norveška</c:v>
                      </c:pt>
                      <c:pt idx="28">
                        <c:v>Portugal</c:v>
                      </c:pt>
                      <c:pt idx="29">
                        <c:v>Albanija</c:v>
                      </c:pt>
                      <c:pt idx="30">
                        <c:v>Francuska</c:v>
                      </c:pt>
                      <c:pt idx="31">
                        <c:v>Finska</c:v>
                      </c:pt>
                      <c:pt idx="32">
                        <c:v>Nemačka</c:v>
                      </c:pt>
                      <c:pt idx="33">
                        <c:v>Mađarska</c:v>
                      </c:pt>
                      <c:pt idx="34">
                        <c:v>Malta</c:v>
                      </c:pt>
                      <c:pt idx="35">
                        <c:v>Češla</c:v>
                      </c:pt>
                      <c:pt idx="36">
                        <c:v>Danska</c:v>
                      </c:pt>
                      <c:pt idx="37">
                        <c:v>Švedska</c:v>
                      </c:pt>
                      <c:pt idx="38">
                        <c:v>Švajcarska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I$4:$I$42</c15:sqref>
                        </c15:formulaRef>
                      </c:ext>
                    </c:extLst>
                    <c:numCache>
                      <c:formatCode>0.0</c:formatCode>
                      <c:ptCount val="39"/>
                      <c:pt idx="0">
                        <c:v>9.5</c:v>
                      </c:pt>
                      <c:pt idx="1">
                        <c:v>7.5</c:v>
                      </c:pt>
                      <c:pt idx="2">
                        <c:v>6</c:v>
                      </c:pt>
                      <c:pt idx="3">
                        <c:v>3.5</c:v>
                      </c:pt>
                      <c:pt idx="4">
                        <c:v>4.9000000000000004</c:v>
                      </c:pt>
                      <c:pt idx="5">
                        <c:v>5.7</c:v>
                      </c:pt>
                      <c:pt idx="6">
                        <c:v>5.4</c:v>
                      </c:pt>
                      <c:pt idx="7">
                        <c:v>4.5999999999999996</c:v>
                      </c:pt>
                      <c:pt idx="8">
                        <c:v>4.9000000000000004</c:v>
                      </c:pt>
                      <c:pt idx="9">
                        <c:v>5.2</c:v>
                      </c:pt>
                      <c:pt idx="10">
                        <c:v>4.8499999999999996</c:v>
                      </c:pt>
                      <c:pt idx="11">
                        <c:v>4.081818181818182</c:v>
                      </c:pt>
                      <c:pt idx="12">
                        <c:v>4.2</c:v>
                      </c:pt>
                      <c:pt idx="13">
                        <c:v>4.0999999999999996</c:v>
                      </c:pt>
                      <c:pt idx="14">
                        <c:v>3.6</c:v>
                      </c:pt>
                      <c:pt idx="15">
                        <c:v>3.4</c:v>
                      </c:pt>
                      <c:pt idx="16">
                        <c:v>3.4</c:v>
                      </c:pt>
                      <c:pt idx="17">
                        <c:v>3.2</c:v>
                      </c:pt>
                      <c:pt idx="18">
                        <c:v>3.6</c:v>
                      </c:pt>
                      <c:pt idx="19">
                        <c:v>3</c:v>
                      </c:pt>
                      <c:pt idx="20">
                        <c:v>2.9</c:v>
                      </c:pt>
                      <c:pt idx="21">
                        <c:v>3.6</c:v>
                      </c:pt>
                      <c:pt idx="22">
                        <c:v>2.5</c:v>
                      </c:pt>
                      <c:pt idx="23">
                        <c:v>3.4</c:v>
                      </c:pt>
                      <c:pt idx="24">
                        <c:v>3.2</c:v>
                      </c:pt>
                      <c:pt idx="25">
                        <c:v>3.1</c:v>
                      </c:pt>
                      <c:pt idx="26">
                        <c:v>2.8</c:v>
                      </c:pt>
                      <c:pt idx="27">
                        <c:v>3.4</c:v>
                      </c:pt>
                      <c:pt idx="28">
                        <c:v>3.3</c:v>
                      </c:pt>
                      <c:pt idx="29">
                        <c:v>2.6</c:v>
                      </c:pt>
                      <c:pt idx="30">
                        <c:v>2.5</c:v>
                      </c:pt>
                      <c:pt idx="31">
                        <c:v>2.4</c:v>
                      </c:pt>
                      <c:pt idx="32">
                        <c:v>2.9</c:v>
                      </c:pt>
                      <c:pt idx="33">
                        <c:v>2.6</c:v>
                      </c:pt>
                      <c:pt idx="34">
                        <c:v>2.5</c:v>
                      </c:pt>
                      <c:pt idx="35">
                        <c:v>2.1</c:v>
                      </c:pt>
                      <c:pt idx="36">
                        <c:v>1.2</c:v>
                      </c:pt>
                      <c:pt idx="37">
                        <c:v>0.5</c:v>
                      </c:pt>
                      <c:pt idx="38">
                        <c:v>0.5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3A-7022-47A8-B1CF-10197ECE2A5B}"/>
                  </c:ext>
                </c:extLst>
              </c15:ser>
            </c15:filteredBarSeries>
          </c:ext>
        </c:extLst>
      </c:barChart>
      <c:catAx>
        <c:axId val="-10454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-104545632"/>
        <c:crosses val="autoZero"/>
        <c:auto val="1"/>
        <c:lblAlgn val="ctr"/>
        <c:lblOffset val="100"/>
        <c:noMultiLvlLbl val="0"/>
      </c:catAx>
      <c:valAx>
        <c:axId val="-104545632"/>
        <c:scaling>
          <c:orientation val="minMax"/>
          <c:max val="10"/>
          <c:min val="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-10454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T5-2'!$A$4</c:f>
              <c:strCache>
                <c:ptCount val="1"/>
                <c:pt idx="0">
                  <c:v>Hrana 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multiLvlStrRef>
              <c:f>'T5-2'!$B$2:$T$3</c:f>
              <c:multiLvlStrCache>
                <c:ptCount val="19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apr.</c:v>
                  </c:pt>
                  <c:pt idx="18">
                    <c:v>maj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4:$T$4</c:f>
              <c:numCache>
                <c:formatCode>0.0</c:formatCode>
                <c:ptCount val="19"/>
                <c:pt idx="0">
                  <c:v>4.4622206572769985</c:v>
                </c:pt>
                <c:pt idx="1">
                  <c:v>5.3519314079422342</c:v>
                </c:pt>
                <c:pt idx="2">
                  <c:v>5.7588608695652201</c:v>
                </c:pt>
                <c:pt idx="3">
                  <c:v>6.7783495145631107</c:v>
                </c:pt>
                <c:pt idx="4">
                  <c:v>7.5173635260816853</c:v>
                </c:pt>
                <c:pt idx="5">
                  <c:v>6.3891111951588577</c:v>
                </c:pt>
                <c:pt idx="6">
                  <c:v>4.0873434125269972</c:v>
                </c:pt>
                <c:pt idx="7">
                  <c:v>2.3333367277664636</c:v>
                </c:pt>
                <c:pt idx="8">
                  <c:v>0.65707099649792788</c:v>
                </c:pt>
                <c:pt idx="9">
                  <c:v>-0.19731467240849196</c:v>
                </c:pt>
                <c:pt idx="10">
                  <c:v>0.93666980539861944</c:v>
                </c:pt>
                <c:pt idx="11">
                  <c:v>0.98702474162229759</c:v>
                </c:pt>
                <c:pt idx="12">
                  <c:v>1.1374494556765158</c:v>
                </c:pt>
                <c:pt idx="13">
                  <c:v>1.8823048327137546</c:v>
                </c:pt>
                <c:pt idx="14">
                  <c:v>0.13667780139690133</c:v>
                </c:pt>
                <c:pt idx="15">
                  <c:v>-0.65730964467004893</c:v>
                </c:pt>
                <c:pt idx="16">
                  <c:v>-0.5</c:v>
                </c:pt>
                <c:pt idx="17">
                  <c:v>-0.5036779324055668</c:v>
                </c:pt>
                <c:pt idx="18">
                  <c:v>-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41-4E86-ABE5-7CB21B3348AD}"/>
            </c:ext>
          </c:extLst>
        </c:ser>
        <c:ser>
          <c:idx val="1"/>
          <c:order val="1"/>
          <c:tx>
            <c:strRef>
              <c:f>'T5-2'!$A$5</c:f>
              <c:strCache>
                <c:ptCount val="1"/>
                <c:pt idx="0">
                  <c:v>Energija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T5-2'!$B$2:$T$3</c:f>
              <c:multiLvlStrCache>
                <c:ptCount val="19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apr.</c:v>
                  </c:pt>
                  <c:pt idx="18">
                    <c:v>maj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5:$T$5</c:f>
              <c:numCache>
                <c:formatCode>0.0</c:formatCode>
                <c:ptCount val="19"/>
                <c:pt idx="0">
                  <c:v>1.4983075648500535</c:v>
                </c:pt>
                <c:pt idx="1">
                  <c:v>2.3364853519386077</c:v>
                </c:pt>
                <c:pt idx="2">
                  <c:v>3.0427402848857321</c:v>
                </c:pt>
                <c:pt idx="3">
                  <c:v>2.5180890926798134</c:v>
                </c:pt>
                <c:pt idx="4">
                  <c:v>2.4073017836286548</c:v>
                </c:pt>
                <c:pt idx="5">
                  <c:v>1.7360811705163937</c:v>
                </c:pt>
                <c:pt idx="6">
                  <c:v>1.2518935304579299</c:v>
                </c:pt>
                <c:pt idx="7">
                  <c:v>1.305072180762807</c:v>
                </c:pt>
                <c:pt idx="8">
                  <c:v>1.1951995223104901</c:v>
                </c:pt>
                <c:pt idx="9">
                  <c:v>0.9588569197841772</c:v>
                </c:pt>
                <c:pt idx="10">
                  <c:v>-9.0548623971666076E-2</c:v>
                </c:pt>
                <c:pt idx="11">
                  <c:v>8.3031559469274444E-2</c:v>
                </c:pt>
                <c:pt idx="12">
                  <c:v>-6.4116638078901958E-2</c:v>
                </c:pt>
                <c:pt idx="13">
                  <c:v>-0.29859702914088176</c:v>
                </c:pt>
                <c:pt idx="14">
                  <c:v>0.23279303278688515</c:v>
                </c:pt>
                <c:pt idx="15">
                  <c:v>0.72051081677500073</c:v>
                </c:pt>
                <c:pt idx="16">
                  <c:v>0.88140248589319692</c:v>
                </c:pt>
                <c:pt idx="17">
                  <c:v>1.3</c:v>
                </c:pt>
                <c:pt idx="18">
                  <c:v>1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141-4E86-ABE5-7CB21B3348AD}"/>
            </c:ext>
          </c:extLst>
        </c:ser>
        <c:ser>
          <c:idx val="2"/>
          <c:order val="2"/>
          <c:tx>
            <c:strRef>
              <c:f>'T5-2'!$A$6</c:f>
              <c:strCache>
                <c:ptCount val="1"/>
                <c:pt idx="0">
                  <c:v>Ostali proizvodi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multiLvlStrRef>
              <c:f>'T5-2'!$B$2:$T$3</c:f>
              <c:multiLvlStrCache>
                <c:ptCount val="19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apr.</c:v>
                  </c:pt>
                  <c:pt idx="18">
                    <c:v>maj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6:$T$6</c:f>
              <c:numCache>
                <c:formatCode>0.0</c:formatCode>
                <c:ptCount val="19"/>
                <c:pt idx="0">
                  <c:v>2.1504474483298877</c:v>
                </c:pt>
                <c:pt idx="1">
                  <c:v>2.7393721000861984</c:v>
                </c:pt>
                <c:pt idx="2">
                  <c:v>3.3427201472257488</c:v>
                </c:pt>
                <c:pt idx="3">
                  <c:v>3.6403354779179553</c:v>
                </c:pt>
                <c:pt idx="4">
                  <c:v>3.5903539340124828</c:v>
                </c:pt>
                <c:pt idx="5">
                  <c:v>3.5168080203242011</c:v>
                </c:pt>
                <c:pt idx="6">
                  <c:v>2.9538220393789003</c:v>
                </c:pt>
                <c:pt idx="7">
                  <c:v>2.4043011484157599</c:v>
                </c:pt>
                <c:pt idx="8">
                  <c:v>1.8725742978594404</c:v>
                </c:pt>
                <c:pt idx="9">
                  <c:v>1.5721370948239235</c:v>
                </c:pt>
                <c:pt idx="10">
                  <c:v>1.5225630326270818</c:v>
                </c:pt>
                <c:pt idx="11">
                  <c:v>1.5404130664769904</c:v>
                </c:pt>
                <c:pt idx="12">
                  <c:v>1.7186911293338825</c:v>
                </c:pt>
                <c:pt idx="13">
                  <c:v>1.6613102139857732</c:v>
                </c:pt>
                <c:pt idx="14">
                  <c:v>1.2838187769033889</c:v>
                </c:pt>
                <c:pt idx="15">
                  <c:v>1.2295684675611083</c:v>
                </c:pt>
                <c:pt idx="16">
                  <c:v>0.9</c:v>
                </c:pt>
                <c:pt idx="17">
                  <c:v>0.9</c:v>
                </c:pt>
                <c:pt idx="18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141-4E86-ABE5-7CB21B3348AD}"/>
            </c:ext>
          </c:extLst>
        </c:ser>
        <c:ser>
          <c:idx val="3"/>
          <c:order val="3"/>
          <c:tx>
            <c:strRef>
              <c:f>'T5-2'!$A$7</c:f>
              <c:strCache>
                <c:ptCount val="1"/>
                <c:pt idx="0">
                  <c:v>Uslug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multiLvlStrRef>
              <c:f>'T5-2'!$B$2:$T$3</c:f>
              <c:multiLvlStrCache>
                <c:ptCount val="19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apr.</c:v>
                  </c:pt>
                  <c:pt idx="18">
                    <c:v>maj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7:$T$7</c:f>
              <c:numCache>
                <c:formatCode>0.0</c:formatCode>
                <c:ptCount val="19"/>
                <c:pt idx="0">
                  <c:v>1.051923124326525</c:v>
                </c:pt>
                <c:pt idx="1">
                  <c:v>1.4115474045915846</c:v>
                </c:pt>
                <c:pt idx="2">
                  <c:v>1.7578753187910992</c:v>
                </c:pt>
                <c:pt idx="3">
                  <c:v>2.109005532208553</c:v>
                </c:pt>
                <c:pt idx="4">
                  <c:v>2.577281716479447</c:v>
                </c:pt>
                <c:pt idx="5">
                  <c:v>2.1319277007312176</c:v>
                </c:pt>
                <c:pt idx="6">
                  <c:v>1.7930740006242221</c:v>
                </c:pt>
                <c:pt idx="7">
                  <c:v>1.4832860703336306</c:v>
                </c:pt>
                <c:pt idx="8">
                  <c:v>1.254332307373409</c:v>
                </c:pt>
                <c:pt idx="9">
                  <c:v>1.5589600240638832</c:v>
                </c:pt>
                <c:pt idx="10">
                  <c:v>1.7947991829237693</c:v>
                </c:pt>
                <c:pt idx="11">
                  <c:v>1.6707261175194776</c:v>
                </c:pt>
                <c:pt idx="12">
                  <c:v>1.5600548420778957</c:v>
                </c:pt>
                <c:pt idx="13">
                  <c:v>1.4070558211711854</c:v>
                </c:pt>
                <c:pt idx="14">
                  <c:v>1.2357982292299017</c:v>
                </c:pt>
                <c:pt idx="15">
                  <c:v>1.5386131191388221</c:v>
                </c:pt>
                <c:pt idx="16">
                  <c:v>1.6701078507563101</c:v>
                </c:pt>
                <c:pt idx="17">
                  <c:v>1.7</c:v>
                </c:pt>
                <c:pt idx="18">
                  <c:v>1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141-4E86-ABE5-7CB21B3348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04544544"/>
        <c:axId val="-104541280"/>
      </c:barChart>
      <c:lineChart>
        <c:grouping val="standard"/>
        <c:varyColors val="0"/>
        <c:ser>
          <c:idx val="4"/>
          <c:order val="4"/>
          <c:tx>
            <c:strRef>
              <c:f>'T5-2'!$A$8</c:f>
              <c:strCache>
                <c:ptCount val="1"/>
                <c:pt idx="0">
                  <c:v>Ukupno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T5-2'!$B$2:$T$2</c:f>
              <c:numCache>
                <c:formatCode>General</c:formatCode>
                <c:ptCount val="19"/>
                <c:pt idx="0">
                  <c:v>2022</c:v>
                </c:pt>
                <c:pt idx="4">
                  <c:v>2023</c:v>
                </c:pt>
                <c:pt idx="8">
                  <c:v>2024</c:v>
                </c:pt>
                <c:pt idx="12">
                  <c:v>2025</c:v>
                </c:pt>
                <c:pt idx="16">
                  <c:v>2026</c:v>
                </c:pt>
              </c:numCache>
            </c:numRef>
          </c:cat>
          <c:val>
            <c:numRef>
              <c:f>'T5-2'!$B$8:$T$8</c:f>
              <c:numCache>
                <c:formatCode>0.0</c:formatCode>
                <c:ptCount val="19"/>
                <c:pt idx="0">
                  <c:v>9.1628987947834641</c:v>
                </c:pt>
                <c:pt idx="1">
                  <c:v>11.839336264558625</c:v>
                </c:pt>
                <c:pt idx="2">
                  <c:v>13.9021966204678</c:v>
                </c:pt>
                <c:pt idx="3">
                  <c:v>15.045779617369433</c:v>
                </c:pt>
                <c:pt idx="4">
                  <c:v>16.09230096020227</c:v>
                </c:pt>
                <c:pt idx="5">
                  <c:v>13.77392808673067</c:v>
                </c:pt>
                <c:pt idx="6">
                  <c:v>10.086132982988049</c:v>
                </c:pt>
                <c:pt idx="7">
                  <c:v>7.5259961272786615</c:v>
                </c:pt>
                <c:pt idx="8">
                  <c:v>4.979177124041267</c:v>
                </c:pt>
                <c:pt idx="9">
                  <c:v>3.8926393662634919</c:v>
                </c:pt>
                <c:pt idx="10">
                  <c:v>4.1634833969778047</c:v>
                </c:pt>
                <c:pt idx="11">
                  <c:v>4.2811954850880403</c:v>
                </c:pt>
                <c:pt idx="12">
                  <c:v>4.3520787890093917</c:v>
                </c:pt>
                <c:pt idx="13">
                  <c:v>4.6520738387298319</c:v>
                </c:pt>
                <c:pt idx="14">
                  <c:v>2.8890878403170772</c:v>
                </c:pt>
                <c:pt idx="15">
                  <c:v>2.8313827588048821</c:v>
                </c:pt>
                <c:pt idx="16">
                  <c:v>2.9515103366495072</c:v>
                </c:pt>
                <c:pt idx="17">
                  <c:v>3.3963220675944332</c:v>
                </c:pt>
                <c:pt idx="18">
                  <c:v>3.55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2AA7-4945-B519-8814A59695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544544"/>
        <c:axId val="-104541280"/>
      </c:lineChart>
      <c:catAx>
        <c:axId val="-10454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-104541280"/>
        <c:crosses val="autoZero"/>
        <c:auto val="1"/>
        <c:lblAlgn val="ctr"/>
        <c:lblOffset val="100"/>
        <c:noMultiLvlLbl val="0"/>
      </c:catAx>
      <c:valAx>
        <c:axId val="-104541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-104544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2892588997818892"/>
          <c:w val="0.96729435943148623"/>
          <c:h val="7.1074188847208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 Narrow" panose="020B0606020202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992588277047416E-2"/>
          <c:y val="0.10676392894752593"/>
          <c:w val="0.8717624282578208"/>
          <c:h val="0.80966418843997123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'T5-5 '!$A$12</c:f>
              <c:strCache>
                <c:ptCount val="1"/>
                <c:pt idx="0">
                  <c:v>Past year</c:v>
                </c:pt>
              </c:strCache>
            </c:strRef>
          </c:tx>
          <c:spPr>
            <a:solidFill>
              <a:schemeClr val="bg1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'T5-5 '!$Z$5:$CL$5</c:f>
              <c:numCache>
                <c:formatCode>General</c:formatCode>
                <c:ptCount val="65"/>
                <c:pt idx="0">
                  <c:v>2021</c:v>
                </c:pt>
                <c:pt idx="12">
                  <c:v>2022</c:v>
                </c:pt>
                <c:pt idx="24">
                  <c:v>2023</c:v>
                </c:pt>
                <c:pt idx="36">
                  <c:v>2024</c:v>
                </c:pt>
                <c:pt idx="48">
                  <c:v>2025</c:v>
                </c:pt>
                <c:pt idx="60">
                  <c:v>2026</c:v>
                </c:pt>
              </c:numCache>
            </c:numRef>
          </c:cat>
          <c:val>
            <c:numRef>
              <c:f>'T5-5 '!$Z$12:$CL$12</c:f>
              <c:numCache>
                <c:formatCode>0.00</c:formatCode>
                <c:ptCount val="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 formatCode="0.0">
                  <c:v>1</c:v>
                </c:pt>
                <c:pt idx="49" formatCode="0.0">
                  <c:v>1</c:v>
                </c:pt>
                <c:pt idx="50" formatCode="0.0">
                  <c:v>1</c:v>
                </c:pt>
                <c:pt idx="51" formatCode="0.0">
                  <c:v>1</c:v>
                </c:pt>
                <c:pt idx="52" formatCode="0.0">
                  <c:v>1</c:v>
                </c:pt>
                <c:pt idx="53" formatCode="0.0">
                  <c:v>1</c:v>
                </c:pt>
                <c:pt idx="54" formatCode="0.0">
                  <c:v>1</c:v>
                </c:pt>
                <c:pt idx="55" formatCode="0.0">
                  <c:v>1</c:v>
                </c:pt>
                <c:pt idx="56" formatCode="0.0">
                  <c:v>1</c:v>
                </c:pt>
                <c:pt idx="57" formatCode="0.0">
                  <c:v>1</c:v>
                </c:pt>
                <c:pt idx="58" formatCode="0.0">
                  <c:v>1</c:v>
                </c:pt>
                <c:pt idx="59" formatCode="0.0">
                  <c:v>1</c:v>
                </c:pt>
                <c:pt idx="60" formatCode="0.0">
                  <c:v>1</c:v>
                </c:pt>
                <c:pt idx="61" formatCode="0.0">
                  <c:v>1</c:v>
                </c:pt>
                <c:pt idx="62" formatCode="0.0">
                  <c:v>1</c:v>
                </c:pt>
                <c:pt idx="63" formatCode="0.0">
                  <c:v>1</c:v>
                </c:pt>
                <c:pt idx="64" formatCode="0.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C86-442E-9688-C24A861453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-104544000"/>
        <c:axId val="-104540192"/>
      </c:barChart>
      <c:lineChart>
        <c:grouping val="standard"/>
        <c:varyColors val="0"/>
        <c:ser>
          <c:idx val="0"/>
          <c:order val="0"/>
          <c:tx>
            <c:strRef>
              <c:f>'T5-5 '!$A$6</c:f>
              <c:strCache>
                <c:ptCount val="1"/>
                <c:pt idx="0">
                  <c:v>Cene sirovina</c:v>
                </c:pt>
              </c:strCache>
            </c:strRef>
          </c:tx>
          <c:spPr>
            <a:ln w="254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T5-5 '!$Z$5:$CL$5</c:f>
              <c:numCache>
                <c:formatCode>General</c:formatCode>
                <c:ptCount val="65"/>
                <c:pt idx="0">
                  <c:v>2021</c:v>
                </c:pt>
                <c:pt idx="12">
                  <c:v>2022</c:v>
                </c:pt>
                <c:pt idx="24">
                  <c:v>2023</c:v>
                </c:pt>
                <c:pt idx="36">
                  <c:v>2024</c:v>
                </c:pt>
                <c:pt idx="48">
                  <c:v>2025</c:v>
                </c:pt>
                <c:pt idx="60">
                  <c:v>2026</c:v>
                </c:pt>
              </c:numCache>
            </c:numRef>
          </c:cat>
          <c:val>
            <c:numRef>
              <c:f>'T5-5 '!$Z$6:$CL$6</c:f>
              <c:numCache>
                <c:formatCode>0.00</c:formatCode>
                <c:ptCount val="65"/>
                <c:pt idx="0">
                  <c:v>136.9616004262877</c:v>
                </c:pt>
                <c:pt idx="1">
                  <c:v>137.97464761934759</c:v>
                </c:pt>
                <c:pt idx="2">
                  <c:v>141.01558493832044</c:v>
                </c:pt>
                <c:pt idx="3">
                  <c:v>145.21863620336094</c:v>
                </c:pt>
                <c:pt idx="4">
                  <c:v>155.18563809885563</c:v>
                </c:pt>
                <c:pt idx="5">
                  <c:v>160.78017570747377</c:v>
                </c:pt>
                <c:pt idx="6">
                  <c:v>164.82996013838715</c:v>
                </c:pt>
                <c:pt idx="7">
                  <c:v>163.18864675556037</c:v>
                </c:pt>
                <c:pt idx="8">
                  <c:v>171.57987879408682</c:v>
                </c:pt>
                <c:pt idx="9">
                  <c:v>191.49841436436759</c:v>
                </c:pt>
                <c:pt idx="10">
                  <c:v>183.10496671866878</c:v>
                </c:pt>
                <c:pt idx="11">
                  <c:v>186.69328910431355</c:v>
                </c:pt>
                <c:pt idx="12">
                  <c:v>192.24525968276728</c:v>
                </c:pt>
                <c:pt idx="13">
                  <c:v>203.49227043642767</c:v>
                </c:pt>
                <c:pt idx="14">
                  <c:v>239.87387756853695</c:v>
                </c:pt>
                <c:pt idx="15">
                  <c:v>228.2876867665361</c:v>
                </c:pt>
                <c:pt idx="16">
                  <c:v>226.32953536523101</c:v>
                </c:pt>
                <c:pt idx="17">
                  <c:v>231.61313483302422</c:v>
                </c:pt>
                <c:pt idx="18">
                  <c:v>229.47158875824968</c:v>
                </c:pt>
                <c:pt idx="19">
                  <c:v>241.93497912932278</c:v>
                </c:pt>
                <c:pt idx="20">
                  <c:v>220.02076291641572</c:v>
                </c:pt>
                <c:pt idx="21">
                  <c:v>191.3619729446736</c:v>
                </c:pt>
                <c:pt idx="22">
                  <c:v>192.03820434533611</c:v>
                </c:pt>
                <c:pt idx="23">
                  <c:v>194.33548014853156</c:v>
                </c:pt>
                <c:pt idx="24">
                  <c:v>182.62368999465687</c:v>
                </c:pt>
                <c:pt idx="25">
                  <c:v>174.58040194711731</c:v>
                </c:pt>
                <c:pt idx="26">
                  <c:v>168.29442866518724</c:v>
                </c:pt>
                <c:pt idx="27">
                  <c:v>170.75432838508465</c:v>
                </c:pt>
                <c:pt idx="28">
                  <c:v>157.14302120498672</c:v>
                </c:pt>
                <c:pt idx="29">
                  <c:v>154.05602946578477</c:v>
                </c:pt>
                <c:pt idx="30" formatCode="General">
                  <c:v>157.88984090375752</c:v>
                </c:pt>
                <c:pt idx="31" formatCode="General">
                  <c:v>161.27673615405379</c:v>
                </c:pt>
                <c:pt idx="32" formatCode="General">
                  <c:v>168.61879637882765</c:v>
                </c:pt>
                <c:pt idx="33" formatCode="General">
                  <c:v>167.89992806629419</c:v>
                </c:pt>
                <c:pt idx="34" formatCode="General">
                  <c:v>165.10921526387403</c:v>
                </c:pt>
                <c:pt idx="35" formatCode="General">
                  <c:v>159.53262247980913</c:v>
                </c:pt>
                <c:pt idx="36" formatCode="General">
                  <c:v>159.32760734752586</c:v>
                </c:pt>
                <c:pt idx="37" formatCode="General">
                  <c:v>158.63591444363249</c:v>
                </c:pt>
                <c:pt idx="38" formatCode="General">
                  <c:v>163.06996383875872</c:v>
                </c:pt>
                <c:pt idx="39" formatCode="General">
                  <c:v>170.39734360484124</c:v>
                </c:pt>
                <c:pt idx="40" formatCode="General">
                  <c:v>168.67610412522893</c:v>
                </c:pt>
                <c:pt idx="41" formatCode="General">
                  <c:v>166.74726171428486</c:v>
                </c:pt>
                <c:pt idx="42" formatCode="General">
                  <c:v>166.12298224142407</c:v>
                </c:pt>
                <c:pt idx="43" formatCode="General">
                  <c:v>164.15396807036583</c:v>
                </c:pt>
                <c:pt idx="44" formatCode="General">
                  <c:v>161.30021642714601</c:v>
                </c:pt>
                <c:pt idx="45" formatCode="General">
                  <c:v>166.5214158841128</c:v>
                </c:pt>
                <c:pt idx="46" formatCode="General">
                  <c:v>166.23141307357506</c:v>
                </c:pt>
                <c:pt idx="47" formatCode="General">
                  <c:v>166.62893506809365</c:v>
                </c:pt>
                <c:pt idx="48" formatCode="General">
                  <c:v>172.77731495862631</c:v>
                </c:pt>
                <c:pt idx="49" formatCode="General">
                  <c:v>172.01947695083663</c:v>
                </c:pt>
                <c:pt idx="50" formatCode="0.000">
                  <c:v>167.37541890867701</c:v>
                </c:pt>
                <c:pt idx="51" formatCode="0.000">
                  <c:v>162.47244639951143</c:v>
                </c:pt>
                <c:pt idx="52" formatCode="0.000">
                  <c:v>160.70928271299601</c:v>
                </c:pt>
                <c:pt idx="53" formatCode="0.000">
                  <c:v>165.96940688298488</c:v>
                </c:pt>
                <c:pt idx="54" formatCode="0.000">
                  <c:v>165.35012835408369</c:v>
                </c:pt>
                <c:pt idx="55" formatCode="0.000">
                  <c:v>162.98627536590817</c:v>
                </c:pt>
                <c:pt idx="56">
                  <c:v>167.15428344837699</c:v>
                </c:pt>
                <c:pt idx="57">
                  <c:v>167.53989039653001</c:v>
                </c:pt>
                <c:pt idx="58">
                  <c:v>168.29170876451201</c:v>
                </c:pt>
                <c:pt idx="59">
                  <c:v>170.56472831669299</c:v>
                </c:pt>
                <c:pt idx="60">
                  <c:v>179.49691956894901</c:v>
                </c:pt>
                <c:pt idx="61">
                  <c:v>184.25857039604799</c:v>
                </c:pt>
                <c:pt idx="62">
                  <c:v>218.76083403501201</c:v>
                </c:pt>
                <c:pt idx="63">
                  <c:v>214.350427147967</c:v>
                </c:pt>
                <c:pt idx="64">
                  <c:v>216.610029981180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C86-442E-9688-C24A861453D5}"/>
            </c:ext>
          </c:extLst>
        </c:ser>
        <c:ser>
          <c:idx val="1"/>
          <c:order val="1"/>
          <c:tx>
            <c:strRef>
              <c:f>'T5-5 '!$A$7</c:f>
              <c:strCache>
                <c:ptCount val="1"/>
                <c:pt idx="0">
                  <c:v>Hrana i piće</c:v>
                </c:pt>
              </c:strCache>
            </c:strRef>
          </c:tx>
          <c:spPr>
            <a:ln w="2540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'T5-5 '!$Z$5:$CL$5</c:f>
              <c:numCache>
                <c:formatCode>General</c:formatCode>
                <c:ptCount val="65"/>
                <c:pt idx="0">
                  <c:v>2021</c:v>
                </c:pt>
                <c:pt idx="12">
                  <c:v>2022</c:v>
                </c:pt>
                <c:pt idx="24">
                  <c:v>2023</c:v>
                </c:pt>
                <c:pt idx="36">
                  <c:v>2024</c:v>
                </c:pt>
                <c:pt idx="48">
                  <c:v>2025</c:v>
                </c:pt>
                <c:pt idx="60">
                  <c:v>2026</c:v>
                </c:pt>
              </c:numCache>
            </c:numRef>
          </c:cat>
          <c:val>
            <c:numRef>
              <c:f>'T5-5 '!$Z$7:$CL$7</c:f>
              <c:numCache>
                <c:formatCode>0.00</c:formatCode>
                <c:ptCount val="65"/>
                <c:pt idx="0">
                  <c:v>114.61350157261292</c:v>
                </c:pt>
                <c:pt idx="1">
                  <c:v>117.39004434577558</c:v>
                </c:pt>
                <c:pt idx="2">
                  <c:v>120.00315560937452</c:v>
                </c:pt>
                <c:pt idx="3">
                  <c:v>126.83034161592475</c:v>
                </c:pt>
                <c:pt idx="4">
                  <c:v>133.12364586741521</c:v>
                </c:pt>
                <c:pt idx="5">
                  <c:v>126.50094894048094</c:v>
                </c:pt>
                <c:pt idx="6">
                  <c:v>127.35844434313412</c:v>
                </c:pt>
                <c:pt idx="7">
                  <c:v>130.03147344440862</c:v>
                </c:pt>
                <c:pt idx="8">
                  <c:v>126.97318747753322</c:v>
                </c:pt>
                <c:pt idx="9">
                  <c:v>128.65468823949382</c:v>
                </c:pt>
                <c:pt idx="10">
                  <c:v>130.90458337575006</c:v>
                </c:pt>
                <c:pt idx="11">
                  <c:v>134.54053101179503</c:v>
                </c:pt>
                <c:pt idx="12">
                  <c:v>140.52975100314109</c:v>
                </c:pt>
                <c:pt idx="13">
                  <c:v>147.03062715293595</c:v>
                </c:pt>
                <c:pt idx="14">
                  <c:v>157.76916085857681</c:v>
                </c:pt>
                <c:pt idx="15">
                  <c:v>162.29723692537914</c:v>
                </c:pt>
                <c:pt idx="16">
                  <c:v>159.0408250163276</c:v>
                </c:pt>
                <c:pt idx="17">
                  <c:v>153.3838718385376</c:v>
                </c:pt>
                <c:pt idx="18">
                  <c:v>142.04407454981461</c:v>
                </c:pt>
                <c:pt idx="19">
                  <c:v>138.80800469125822</c:v>
                </c:pt>
                <c:pt idx="20">
                  <c:v>134.37162788318258</c:v>
                </c:pt>
                <c:pt idx="21">
                  <c:v>136.33160117027842</c:v>
                </c:pt>
                <c:pt idx="22">
                  <c:v>135.62599478551553</c:v>
                </c:pt>
                <c:pt idx="23">
                  <c:v>133.99498981337842</c:v>
                </c:pt>
                <c:pt idx="24">
                  <c:v>135.87648549129167</c:v>
                </c:pt>
                <c:pt idx="25">
                  <c:v>140.50881482244486</c:v>
                </c:pt>
                <c:pt idx="26">
                  <c:v>143.78359505656451</c:v>
                </c:pt>
                <c:pt idx="27">
                  <c:v>144.15249283241934</c:v>
                </c:pt>
                <c:pt idx="28">
                  <c:v>137.41357852627581</c:v>
                </c:pt>
                <c:pt idx="29">
                  <c:v>135.2039184356203</c:v>
                </c:pt>
                <c:pt idx="30" formatCode="General">
                  <c:v>135.58521814430159</c:v>
                </c:pt>
                <c:pt idx="31" formatCode="General">
                  <c:v>130.66308707601752</c:v>
                </c:pt>
                <c:pt idx="32" formatCode="General">
                  <c:v>130.63313193031871</c:v>
                </c:pt>
                <c:pt idx="33" formatCode="General">
                  <c:v>131.71797530424251</c:v>
                </c:pt>
                <c:pt idx="34" formatCode="General">
                  <c:v>135.4220049355948</c:v>
                </c:pt>
                <c:pt idx="35" formatCode="General">
                  <c:v>134.32085492678164</c:v>
                </c:pt>
                <c:pt idx="36" formatCode="General">
                  <c:v>136.29808028282929</c:v>
                </c:pt>
                <c:pt idx="37" formatCode="General">
                  <c:v>136.34375441642558</c:v>
                </c:pt>
                <c:pt idx="38" formatCode="General">
                  <c:v>139.13719952180148</c:v>
                </c:pt>
                <c:pt idx="39" formatCode="General">
                  <c:v>144.23149563661406</c:v>
                </c:pt>
                <c:pt idx="40" formatCode="General">
                  <c:v>142.20207694733065</c:v>
                </c:pt>
                <c:pt idx="41" formatCode="General">
                  <c:v>136.48970223111792</c:v>
                </c:pt>
                <c:pt idx="42" formatCode="General">
                  <c:v>134.61322929953823</c:v>
                </c:pt>
                <c:pt idx="43" formatCode="General">
                  <c:v>134.01572166954193</c:v>
                </c:pt>
                <c:pt idx="44" formatCode="General">
                  <c:v>137.07635623139313</c:v>
                </c:pt>
                <c:pt idx="45" formatCode="General">
                  <c:v>138.42505131658683</c:v>
                </c:pt>
                <c:pt idx="46" formatCode="General">
                  <c:v>140.62477623158489</c:v>
                </c:pt>
                <c:pt idx="47" formatCode="General">
                  <c:v>142.22374595667637</c:v>
                </c:pt>
                <c:pt idx="48" formatCode="General">
                  <c:v>145.96863845517765</c:v>
                </c:pt>
                <c:pt idx="49" formatCode="General">
                  <c:v>143.28634229196192</c:v>
                </c:pt>
                <c:pt idx="50" formatCode="0.000">
                  <c:v>138.82811432635219</c:v>
                </c:pt>
                <c:pt idx="51" formatCode="0.000">
                  <c:v>138.72582220843123</c:v>
                </c:pt>
                <c:pt idx="52" formatCode="0.000">
                  <c:v>136.40471636675528</c:v>
                </c:pt>
                <c:pt idx="53" formatCode="0.000">
                  <c:v>133.00991192516648</c:v>
                </c:pt>
                <c:pt idx="54" formatCode="0.000">
                  <c:v>131.59782215105312</c:v>
                </c:pt>
                <c:pt idx="55" formatCode="0.000">
                  <c:v>131.83015436070355</c:v>
                </c:pt>
                <c:pt idx="56">
                  <c:v>134.66615184917899</c:v>
                </c:pt>
                <c:pt idx="57">
                  <c:v>130.39433699871901</c:v>
                </c:pt>
                <c:pt idx="58">
                  <c:v>129.89413655660599</c:v>
                </c:pt>
                <c:pt idx="59">
                  <c:v>132.735605877333</c:v>
                </c:pt>
                <c:pt idx="60">
                  <c:v>133.175491205008</c:v>
                </c:pt>
                <c:pt idx="61">
                  <c:v>135.007858933151</c:v>
                </c:pt>
                <c:pt idx="62">
                  <c:v>138.99276891407001</c:v>
                </c:pt>
                <c:pt idx="63">
                  <c:v>141.324565671692</c:v>
                </c:pt>
                <c:pt idx="64">
                  <c:v>143.03532343698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C86-442E-9688-C24A861453D5}"/>
            </c:ext>
          </c:extLst>
        </c:ser>
        <c:ser>
          <c:idx val="2"/>
          <c:order val="2"/>
          <c:tx>
            <c:strRef>
              <c:f>'T5-5 '!$A$8</c:f>
              <c:strCache>
                <c:ptCount val="1"/>
                <c:pt idx="0">
                  <c:v>Osnovni metali</c:v>
                </c:pt>
              </c:strCache>
            </c:strRef>
          </c:tx>
          <c:spPr>
            <a:ln w="254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T5-5 '!$Z$5:$CL$5</c:f>
              <c:numCache>
                <c:formatCode>General</c:formatCode>
                <c:ptCount val="65"/>
                <c:pt idx="0">
                  <c:v>2021</c:v>
                </c:pt>
                <c:pt idx="12">
                  <c:v>2022</c:v>
                </c:pt>
                <c:pt idx="24">
                  <c:v>2023</c:v>
                </c:pt>
                <c:pt idx="36">
                  <c:v>2024</c:v>
                </c:pt>
                <c:pt idx="48">
                  <c:v>2025</c:v>
                </c:pt>
                <c:pt idx="60">
                  <c:v>2026</c:v>
                </c:pt>
              </c:numCache>
            </c:numRef>
          </c:cat>
          <c:val>
            <c:numRef>
              <c:f>'T5-5 '!$Z$8:$CL$8</c:f>
              <c:numCache>
                <c:formatCode>0.00</c:formatCode>
                <c:ptCount val="65"/>
                <c:pt idx="0">
                  <c:v>189.54104567162571</c:v>
                </c:pt>
                <c:pt idx="1">
                  <c:v>192.65542037260619</c:v>
                </c:pt>
                <c:pt idx="2">
                  <c:v>198.60874068222518</c:v>
                </c:pt>
                <c:pt idx="3">
                  <c:v>208.12438767434531</c:v>
                </c:pt>
                <c:pt idx="4">
                  <c:v>229.07054826364984</c:v>
                </c:pt>
                <c:pt idx="5">
                  <c:v>237.38709467501945</c:v>
                </c:pt>
                <c:pt idx="6">
                  <c:v>238.78103703248186</c:v>
                </c:pt>
                <c:pt idx="7">
                  <c:v>212.23554057279327</c:v>
                </c:pt>
                <c:pt idx="8">
                  <c:v>191.43006841813349</c:v>
                </c:pt>
                <c:pt idx="9">
                  <c:v>196.47539005937935</c:v>
                </c:pt>
                <c:pt idx="10">
                  <c:v>180.05724433436791</c:v>
                </c:pt>
                <c:pt idx="11">
                  <c:v>190.58396276380412</c:v>
                </c:pt>
                <c:pt idx="12">
                  <c:v>208.89338539951339</c:v>
                </c:pt>
                <c:pt idx="13">
                  <c:v>216.64460860678167</c:v>
                </c:pt>
                <c:pt idx="14">
                  <c:v>233.42847763713067</c:v>
                </c:pt>
                <c:pt idx="15">
                  <c:v>231.43584576834698</c:v>
                </c:pt>
                <c:pt idx="16">
                  <c:v>208.08617100072036</c:v>
                </c:pt>
                <c:pt idx="17">
                  <c:v>200.26224012711174</c:v>
                </c:pt>
                <c:pt idx="18">
                  <c:v>172.46682640543543</c:v>
                </c:pt>
                <c:pt idx="19">
                  <c:v>174.73724084600414</c:v>
                </c:pt>
                <c:pt idx="20">
                  <c:v>165.86422005390358</c:v>
                </c:pt>
                <c:pt idx="21">
                  <c:v>161.61263712749624</c:v>
                </c:pt>
                <c:pt idx="22">
                  <c:v>169.00551975785345</c:v>
                </c:pt>
                <c:pt idx="23">
                  <c:v>184.30437353293425</c:v>
                </c:pt>
                <c:pt idx="24">
                  <c:v>198.81945645833653</c:v>
                </c:pt>
                <c:pt idx="25">
                  <c:v>209.10457845577346</c:v>
                </c:pt>
                <c:pt idx="26">
                  <c:v>203.58140227549606</c:v>
                </c:pt>
                <c:pt idx="27">
                  <c:v>195.53035829398357</c:v>
                </c:pt>
                <c:pt idx="28">
                  <c:v>178.1842809779194</c:v>
                </c:pt>
                <c:pt idx="29">
                  <c:v>178.97604645739125</c:v>
                </c:pt>
                <c:pt idx="30" formatCode="General">
                  <c:v>179.88346445378693</c:v>
                </c:pt>
                <c:pt idx="31" formatCode="General">
                  <c:v>176.21646463280976</c:v>
                </c:pt>
                <c:pt idx="32" formatCode="General">
                  <c:v>182.72881890978212</c:v>
                </c:pt>
                <c:pt idx="33" formatCode="General">
                  <c:v>180.18395889613279</c:v>
                </c:pt>
                <c:pt idx="34" formatCode="General">
                  <c:v>188.32253500702689</c:v>
                </c:pt>
                <c:pt idx="35" formatCode="General">
                  <c:v>191.03945869960927</c:v>
                </c:pt>
                <c:pt idx="36" formatCode="General">
                  <c:v>189.83613980829148</c:v>
                </c:pt>
                <c:pt idx="37" formatCode="General">
                  <c:v>184.57060004310873</c:v>
                </c:pt>
                <c:pt idx="38" formatCode="General">
                  <c:v>179.28754469354629</c:v>
                </c:pt>
                <c:pt idx="39" formatCode="General">
                  <c:v>189.15322938913653</c:v>
                </c:pt>
                <c:pt idx="40" formatCode="General">
                  <c:v>199.58616763567511</c:v>
                </c:pt>
                <c:pt idx="41" formatCode="General">
                  <c:v>187.81540232665853</c:v>
                </c:pt>
                <c:pt idx="42" formatCode="General">
                  <c:v>183.43491541989545</c:v>
                </c:pt>
                <c:pt idx="43" formatCode="General">
                  <c:v>176.84454665320305</c:v>
                </c:pt>
                <c:pt idx="44" formatCode="General">
                  <c:v>177.24399017312612</c:v>
                </c:pt>
                <c:pt idx="45" formatCode="General">
                  <c:v>186.96421555347413</c:v>
                </c:pt>
                <c:pt idx="46" formatCode="General">
                  <c:v>182.57629410003096</c:v>
                </c:pt>
                <c:pt idx="47" formatCode="General">
                  <c:v>182.08071185329177</c:v>
                </c:pt>
                <c:pt idx="48" formatCode="General">
                  <c:v>181.1944342648076</c:v>
                </c:pt>
                <c:pt idx="49" formatCode="General">
                  <c:v>186.2903953482305</c:v>
                </c:pt>
                <c:pt idx="50" formatCode="0.000">
                  <c:v>187.3092781439704</c:v>
                </c:pt>
                <c:pt idx="51" formatCode="0.000">
                  <c:v>175.90374104951636</c:v>
                </c:pt>
                <c:pt idx="52" formatCode="0.000">
                  <c:v>179.14121593336159</c:v>
                </c:pt>
                <c:pt idx="53" formatCode="0.000">
                  <c:v>180.63194678003319</c:v>
                </c:pt>
                <c:pt idx="54" formatCode="0.000">
                  <c:v>184.26407036703654</c:v>
                </c:pt>
                <c:pt idx="55" formatCode="0.000">
                  <c:v>184.73271707501817</c:v>
                </c:pt>
                <c:pt idx="56">
                  <c:v>192.575424228272</c:v>
                </c:pt>
                <c:pt idx="57">
                  <c:v>201.290025502883</c:v>
                </c:pt>
                <c:pt idx="58">
                  <c:v>201.80095115697901</c:v>
                </c:pt>
                <c:pt idx="59">
                  <c:v>210.77113498620199</c:v>
                </c:pt>
                <c:pt idx="60">
                  <c:v>224.18401878914599</c:v>
                </c:pt>
                <c:pt idx="61">
                  <c:v>220.00530722822899</c:v>
                </c:pt>
                <c:pt idx="62">
                  <c:v>222.85374351591801</c:v>
                </c:pt>
                <c:pt idx="63">
                  <c:v>229.25880400537099</c:v>
                </c:pt>
                <c:pt idx="64">
                  <c:v>236.312815116201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DC86-442E-9688-C24A861453D5}"/>
            </c:ext>
          </c:extLst>
        </c:ser>
        <c:ser>
          <c:idx val="3"/>
          <c:order val="3"/>
          <c:tx>
            <c:strRef>
              <c:f>'T5-5 '!$A$9</c:f>
              <c:strCache>
                <c:ptCount val="1"/>
                <c:pt idx="0">
                  <c:v>Energija</c:v>
                </c:pt>
              </c:strCache>
            </c:strRef>
          </c:tx>
          <c:spPr>
            <a:ln w="25400" cap="rnd">
              <a:solidFill>
                <a:schemeClr val="tx1">
                  <a:lumMod val="65000"/>
                  <a:lumOff val="3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T5-5 '!$Z$5:$CL$5</c:f>
              <c:numCache>
                <c:formatCode>General</c:formatCode>
                <c:ptCount val="65"/>
                <c:pt idx="0">
                  <c:v>2021</c:v>
                </c:pt>
                <c:pt idx="12">
                  <c:v>2022</c:v>
                </c:pt>
                <c:pt idx="24">
                  <c:v>2023</c:v>
                </c:pt>
                <c:pt idx="36">
                  <c:v>2024</c:v>
                </c:pt>
                <c:pt idx="48">
                  <c:v>2025</c:v>
                </c:pt>
                <c:pt idx="60">
                  <c:v>2026</c:v>
                </c:pt>
              </c:numCache>
            </c:numRef>
          </c:cat>
          <c:val>
            <c:numRef>
              <c:f>'T5-5 '!$Z$9:$CL$9</c:f>
              <c:numCache>
                <c:formatCode>0.00</c:formatCode>
                <c:ptCount val="65"/>
                <c:pt idx="0">
                  <c:v>138.44627249070791</c:v>
                </c:pt>
                <c:pt idx="1">
                  <c:v>137.66490834564371</c:v>
                </c:pt>
                <c:pt idx="2">
                  <c:v>142.13654833826237</c:v>
                </c:pt>
                <c:pt idx="3">
                  <c:v>143.19371421199261</c:v>
                </c:pt>
                <c:pt idx="4">
                  <c:v>154.55747429845118</c:v>
                </c:pt>
                <c:pt idx="5">
                  <c:v>170.89514108949206</c:v>
                </c:pt>
                <c:pt idx="6">
                  <c:v>181.34991609751162</c:v>
                </c:pt>
                <c:pt idx="7">
                  <c:v>183.80651475032252</c:v>
                </c:pt>
                <c:pt idx="8">
                  <c:v>212.87906420443829</c:v>
                </c:pt>
                <c:pt idx="9">
                  <c:v>256.46075422101114</c:v>
                </c:pt>
                <c:pt idx="10">
                  <c:v>235.68333164688178</c:v>
                </c:pt>
                <c:pt idx="11">
                  <c:v>239.99103249725138</c:v>
                </c:pt>
                <c:pt idx="12">
                  <c:v>241.37737826193072</c:v>
                </c:pt>
                <c:pt idx="13">
                  <c:v>260.04836262176536</c:v>
                </c:pt>
                <c:pt idx="14">
                  <c:v>331.78375933108026</c:v>
                </c:pt>
                <c:pt idx="15">
                  <c:v>300.53317790586027</c:v>
                </c:pt>
                <c:pt idx="16">
                  <c:v>306.67497921690921</c:v>
                </c:pt>
                <c:pt idx="17">
                  <c:v>328.12348040417533</c:v>
                </c:pt>
                <c:pt idx="18">
                  <c:v>343.8099974185609</c:v>
                </c:pt>
                <c:pt idx="19">
                  <c:v>376.41208256914467</c:v>
                </c:pt>
                <c:pt idx="20">
                  <c:v>330.14958591389785</c:v>
                </c:pt>
                <c:pt idx="21">
                  <c:v>259.8586761899341</c:v>
                </c:pt>
                <c:pt idx="22">
                  <c:v>256.8597387168565</c:v>
                </c:pt>
                <c:pt idx="23">
                  <c:v>258.50179101427534</c:v>
                </c:pt>
                <c:pt idx="24">
                  <c:v>223.27258504535291</c:v>
                </c:pt>
                <c:pt idx="25">
                  <c:v>201.71839330249298</c:v>
                </c:pt>
                <c:pt idx="26">
                  <c:v>186.02315507198685</c:v>
                </c:pt>
                <c:pt idx="27">
                  <c:v>192.36852273306704</c:v>
                </c:pt>
                <c:pt idx="28">
                  <c:v>169.22591386730184</c:v>
                </c:pt>
                <c:pt idx="29">
                  <c:v>165.822923401189</c:v>
                </c:pt>
                <c:pt idx="30" formatCode="General">
                  <c:v>174.97718076555208</c:v>
                </c:pt>
                <c:pt idx="31" formatCode="General">
                  <c:v>188.22194044020699</c:v>
                </c:pt>
                <c:pt idx="32" formatCode="General">
                  <c:v>204.55252431865799</c:v>
                </c:pt>
                <c:pt idx="33" formatCode="General">
                  <c:v>202.89113691256347</c:v>
                </c:pt>
                <c:pt idx="34" formatCode="General">
                  <c:v>189.8018052287899</c:v>
                </c:pt>
                <c:pt idx="35" formatCode="General">
                  <c:v>175.18409807306455</c:v>
                </c:pt>
                <c:pt idx="36" formatCode="General">
                  <c:v>173.66402054341603</c:v>
                </c:pt>
                <c:pt idx="37" formatCode="General">
                  <c:v>173.23233239998851</c:v>
                </c:pt>
                <c:pt idx="38" formatCode="General">
                  <c:v>179.81556512238575</c:v>
                </c:pt>
                <c:pt idx="39" formatCode="General">
                  <c:v>188.53155618360938</c:v>
                </c:pt>
                <c:pt idx="40" formatCode="General">
                  <c:v>182.87895955257699</c:v>
                </c:pt>
                <c:pt idx="41" formatCode="General">
                  <c:v>186.04192372940631</c:v>
                </c:pt>
                <c:pt idx="42" formatCode="General">
                  <c:v>185.93452879614512</c:v>
                </c:pt>
                <c:pt idx="43" formatCode="General">
                  <c:v>181.70516453056928</c:v>
                </c:pt>
                <c:pt idx="44" formatCode="General">
                  <c:v>170.44343779241635</c:v>
                </c:pt>
                <c:pt idx="45" formatCode="General">
                  <c:v>177.02385867782513</c:v>
                </c:pt>
                <c:pt idx="46" formatCode="General">
                  <c:v>177.34299050458841</c:v>
                </c:pt>
                <c:pt idx="47" formatCode="General">
                  <c:v>177.42994832719472</c:v>
                </c:pt>
                <c:pt idx="48" formatCode="General">
                  <c:v>188.62277370095669</c:v>
                </c:pt>
                <c:pt idx="49" formatCode="General">
                  <c:v>183.13580241465237</c:v>
                </c:pt>
                <c:pt idx="50" formatCode="0.000">
                  <c:v>172.76307951510751</c:v>
                </c:pt>
                <c:pt idx="51" formatCode="0.000">
                  <c:v>159.45976372562842</c:v>
                </c:pt>
                <c:pt idx="52" formatCode="0.000">
                  <c:v>154.2231656497394</c:v>
                </c:pt>
                <c:pt idx="53" formatCode="0.000">
                  <c:v>167.05288043865227</c:v>
                </c:pt>
                <c:pt idx="54" formatCode="0.000">
                  <c:v>165.08669763993802</c:v>
                </c:pt>
                <c:pt idx="55" formatCode="0.000">
                  <c:v>158.25084557639187</c:v>
                </c:pt>
                <c:pt idx="56">
                  <c:v>157.85760014839201</c:v>
                </c:pt>
                <c:pt idx="57">
                  <c:v>151.114870818963</c:v>
                </c:pt>
                <c:pt idx="58">
                  <c:v>152.72642200512999</c:v>
                </c:pt>
                <c:pt idx="59">
                  <c:v>147.35140658052001</c:v>
                </c:pt>
                <c:pt idx="60">
                  <c:v>153.656181664011</c:v>
                </c:pt>
                <c:pt idx="61">
                  <c:v>159.20835407854599</c:v>
                </c:pt>
                <c:pt idx="62">
                  <c:v>242.27753294472799</c:v>
                </c:pt>
                <c:pt idx="63">
                  <c:v>229.38329977198899</c:v>
                </c:pt>
                <c:pt idx="64">
                  <c:v>234.520562560993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DC86-442E-9688-C24A861453D5}"/>
            </c:ext>
          </c:extLst>
        </c:ser>
        <c:ser>
          <c:idx val="5"/>
          <c:order val="5"/>
          <c:tx>
            <c:strRef>
              <c:f>'T5-5 '!$A$11</c:f>
              <c:strCache>
                <c:ptCount val="1"/>
                <c:pt idx="0">
                  <c:v>Inputi u industriji</c:v>
                </c:pt>
              </c:strCache>
            </c:strRef>
          </c:tx>
          <c:spPr>
            <a:ln w="25400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T5-5 '!$Z$5:$CL$5</c:f>
              <c:numCache>
                <c:formatCode>General</c:formatCode>
                <c:ptCount val="65"/>
                <c:pt idx="0">
                  <c:v>2021</c:v>
                </c:pt>
                <c:pt idx="12">
                  <c:v>2022</c:v>
                </c:pt>
                <c:pt idx="24">
                  <c:v>2023</c:v>
                </c:pt>
                <c:pt idx="36">
                  <c:v>2024</c:v>
                </c:pt>
                <c:pt idx="48">
                  <c:v>2025</c:v>
                </c:pt>
                <c:pt idx="60">
                  <c:v>2026</c:v>
                </c:pt>
              </c:numCache>
            </c:numRef>
          </c:cat>
          <c:val>
            <c:numRef>
              <c:f>'T5-5 '!$Z$11:$CL$11</c:f>
              <c:numCache>
                <c:formatCode>0.00</c:formatCode>
                <c:ptCount val="65"/>
                <c:pt idx="0">
                  <c:v>167.03484486654574</c:v>
                </c:pt>
                <c:pt idx="1">
                  <c:v>169.51832603928327</c:v>
                </c:pt>
                <c:pt idx="2">
                  <c:v>174.67919377555899</c:v>
                </c:pt>
                <c:pt idx="3">
                  <c:v>181.52351633626404</c:v>
                </c:pt>
                <c:pt idx="4">
                  <c:v>197.4755245008717</c:v>
                </c:pt>
                <c:pt idx="5">
                  <c:v>203.47801926780278</c:v>
                </c:pt>
                <c:pt idx="6">
                  <c:v>202.82580427412381</c:v>
                </c:pt>
                <c:pt idx="7">
                  <c:v>183.26794930855039</c:v>
                </c:pt>
                <c:pt idx="8">
                  <c:v>167.77233005441653</c:v>
                </c:pt>
                <c:pt idx="9">
                  <c:v>172.75969252777213</c:v>
                </c:pt>
                <c:pt idx="10">
                  <c:v>161.65557215511276</c:v>
                </c:pt>
                <c:pt idx="11">
                  <c:v>168.84821361883914</c:v>
                </c:pt>
                <c:pt idx="12">
                  <c:v>183.35675957503557</c:v>
                </c:pt>
                <c:pt idx="13">
                  <c:v>190.20894844582651</c:v>
                </c:pt>
                <c:pt idx="14">
                  <c:v>204.92347809320154</c:v>
                </c:pt>
                <c:pt idx="15">
                  <c:v>203.52978119480437</c:v>
                </c:pt>
                <c:pt idx="16">
                  <c:v>187.21320622103281</c:v>
                </c:pt>
                <c:pt idx="17">
                  <c:v>180.41876189520579</c:v>
                </c:pt>
                <c:pt idx="18">
                  <c:v>157.4343247862426</c:v>
                </c:pt>
                <c:pt idx="19">
                  <c:v>158.51022819857266</c:v>
                </c:pt>
                <c:pt idx="20">
                  <c:v>150.15153354033023</c:v>
                </c:pt>
                <c:pt idx="21">
                  <c:v>145.46086485610459</c:v>
                </c:pt>
                <c:pt idx="22">
                  <c:v>150.97662954011278</c:v>
                </c:pt>
                <c:pt idx="23">
                  <c:v>161.98024556968645</c:v>
                </c:pt>
                <c:pt idx="24">
                  <c:v>171.62129830343457</c:v>
                </c:pt>
                <c:pt idx="25">
                  <c:v>179.16501994867767</c:v>
                </c:pt>
                <c:pt idx="26">
                  <c:v>174.34728896873349</c:v>
                </c:pt>
                <c:pt idx="27">
                  <c:v>168.36079088479636</c:v>
                </c:pt>
                <c:pt idx="28">
                  <c:v>156.68402908118074</c:v>
                </c:pt>
                <c:pt idx="29">
                  <c:v>156.43436361204215</c:v>
                </c:pt>
                <c:pt idx="30" formatCode="General">
                  <c:v>157.40657607584558</c:v>
                </c:pt>
                <c:pt idx="31" formatCode="General">
                  <c:v>154.70061111725263</c:v>
                </c:pt>
                <c:pt idx="32" formatCode="General">
                  <c:v>159.82304857846273</c:v>
                </c:pt>
                <c:pt idx="33" formatCode="General">
                  <c:v>157.57578648057276</c:v>
                </c:pt>
                <c:pt idx="34" formatCode="General">
                  <c:v>163.05523108146343</c:v>
                </c:pt>
                <c:pt idx="35" formatCode="General">
                  <c:v>165.39534407958246</c:v>
                </c:pt>
                <c:pt idx="36" formatCode="General">
                  <c:v>165.60316077978175</c:v>
                </c:pt>
                <c:pt idx="37" formatCode="General">
                  <c:v>162.5323686067201</c:v>
                </c:pt>
                <c:pt idx="38" formatCode="General">
                  <c:v>160.33922743980278</c:v>
                </c:pt>
                <c:pt idx="39" formatCode="General">
                  <c:v>165.7419007715487</c:v>
                </c:pt>
                <c:pt idx="40" formatCode="General">
                  <c:v>172.44890524956375</c:v>
                </c:pt>
                <c:pt idx="41" formatCode="General">
                  <c:v>163.90938504121124</c:v>
                </c:pt>
                <c:pt idx="42" formatCode="General">
                  <c:v>159.90893788702977</c:v>
                </c:pt>
                <c:pt idx="43" formatCode="General">
                  <c:v>155.94511408095278</c:v>
                </c:pt>
                <c:pt idx="44" formatCode="General">
                  <c:v>158.07558929440887</c:v>
                </c:pt>
                <c:pt idx="45" formatCode="General">
                  <c:v>164.11505180142743</c:v>
                </c:pt>
                <c:pt idx="46" formatCode="General">
                  <c:v>159.83739056285717</c:v>
                </c:pt>
                <c:pt idx="47" formatCode="General">
                  <c:v>160.13774068566528</c:v>
                </c:pt>
                <c:pt idx="48" formatCode="General">
                  <c:v>159.05371625767773</c:v>
                </c:pt>
                <c:pt idx="49" formatCode="General">
                  <c:v>163.23774673179318</c:v>
                </c:pt>
                <c:pt idx="50" formatCode="0.000">
                  <c:v>164.0515203358884</c:v>
                </c:pt>
                <c:pt idx="51" formatCode="0.000">
                  <c:v>155.39640091634604</c:v>
                </c:pt>
                <c:pt idx="52" formatCode="0.000">
                  <c:v>158.04234210947243</c:v>
                </c:pt>
                <c:pt idx="53" formatCode="0.000">
                  <c:v>159.27678494020265</c:v>
                </c:pt>
                <c:pt idx="54" formatCode="0.000">
                  <c:v>162.07451540819309</c:v>
                </c:pt>
                <c:pt idx="55" formatCode="0.000">
                  <c:v>162.10260141452065</c:v>
                </c:pt>
                <c:pt idx="56">
                  <c:v>166.979558571887</c:v>
                </c:pt>
                <c:pt idx="57">
                  <c:v>172.350615281383</c:v>
                </c:pt>
                <c:pt idx="58">
                  <c:v>172.783328050763</c:v>
                </c:pt>
                <c:pt idx="59">
                  <c:v>179.83551959315301</c:v>
                </c:pt>
                <c:pt idx="60">
                  <c:v>189.956028773046</c:v>
                </c:pt>
                <c:pt idx="61">
                  <c:v>187.398012512462</c:v>
                </c:pt>
                <c:pt idx="62">
                  <c:v>189.72939074446401</c:v>
                </c:pt>
                <c:pt idx="63">
                  <c:v>195.55103789924101</c:v>
                </c:pt>
                <c:pt idx="64">
                  <c:v>202.073014722472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DC86-442E-9688-C24A861453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534208"/>
        <c:axId val="-104535840"/>
      </c:lineChart>
      <c:catAx>
        <c:axId val="-104534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-104535840"/>
        <c:crosses val="autoZero"/>
        <c:auto val="1"/>
        <c:lblAlgn val="ctr"/>
        <c:lblOffset val="100"/>
        <c:noMultiLvlLbl val="0"/>
      </c:catAx>
      <c:valAx>
        <c:axId val="-104535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-104534208"/>
        <c:crosses val="autoZero"/>
        <c:crossBetween val="between"/>
      </c:valAx>
      <c:valAx>
        <c:axId val="-104540192"/>
        <c:scaling>
          <c:orientation val="minMax"/>
          <c:max val="1"/>
        </c:scaling>
        <c:delete val="0"/>
        <c:axPos val="r"/>
        <c:numFmt formatCode="0.0" sourceLinked="0"/>
        <c:majorTickMark val="out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-104544000"/>
        <c:crosses val="max"/>
        <c:crossBetween val="between"/>
      </c:valAx>
      <c:catAx>
        <c:axId val="-1045440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045401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75770973636961914"/>
          <c:w val="1"/>
          <c:h val="6.07683214867136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057321809669182E-2"/>
          <c:y val="7.0217917675544791E-2"/>
          <c:w val="0.82982937802230772"/>
          <c:h val="0.69139696612726553"/>
        </c:manualLayout>
      </c:layout>
      <c:lineChart>
        <c:grouping val="standard"/>
        <c:varyColors val="0"/>
        <c:ser>
          <c:idx val="1"/>
          <c:order val="1"/>
          <c:tx>
            <c:strRef>
              <c:f>'T5-8'!$D$2</c:f>
              <c:strCache>
                <c:ptCount val="1"/>
                <c:pt idx="0">
                  <c:v>Realni kurs dinara (2025=100; leva skala)</c:v>
                </c:pt>
              </c:strCache>
            </c:strRef>
          </c:tx>
          <c:spPr>
            <a:ln w="25400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'T5-8'!$B$3:$B$181</c:f>
              <c:strCache>
                <c:ptCount val="179"/>
                <c:pt idx="0">
                  <c:v>2011m01</c:v>
                </c:pt>
                <c:pt idx="1">
                  <c:v>2011m02</c:v>
                </c:pt>
                <c:pt idx="2">
                  <c:v>2011m03</c:v>
                </c:pt>
                <c:pt idx="3">
                  <c:v>2011m04</c:v>
                </c:pt>
                <c:pt idx="4">
                  <c:v>2011m05</c:v>
                </c:pt>
                <c:pt idx="5">
                  <c:v>2011m06</c:v>
                </c:pt>
                <c:pt idx="6">
                  <c:v>2011m07</c:v>
                </c:pt>
                <c:pt idx="7">
                  <c:v>2011m08</c:v>
                </c:pt>
                <c:pt idx="8">
                  <c:v>2011m09</c:v>
                </c:pt>
                <c:pt idx="9">
                  <c:v>2011m10</c:v>
                </c:pt>
                <c:pt idx="10">
                  <c:v>2011m11</c:v>
                </c:pt>
                <c:pt idx="11">
                  <c:v>2011m12</c:v>
                </c:pt>
                <c:pt idx="12">
                  <c:v>2012m01</c:v>
                </c:pt>
                <c:pt idx="13">
                  <c:v>2012m02</c:v>
                </c:pt>
                <c:pt idx="14">
                  <c:v>2012m03</c:v>
                </c:pt>
                <c:pt idx="15">
                  <c:v>2012m04</c:v>
                </c:pt>
                <c:pt idx="16">
                  <c:v>2012m05</c:v>
                </c:pt>
                <c:pt idx="17">
                  <c:v>2012m06</c:v>
                </c:pt>
                <c:pt idx="18">
                  <c:v>2012m07</c:v>
                </c:pt>
                <c:pt idx="19">
                  <c:v>2012m08</c:v>
                </c:pt>
                <c:pt idx="20">
                  <c:v>2012m09</c:v>
                </c:pt>
                <c:pt idx="21">
                  <c:v>2012m10</c:v>
                </c:pt>
                <c:pt idx="22">
                  <c:v>2012m11</c:v>
                </c:pt>
                <c:pt idx="23">
                  <c:v>2012m12</c:v>
                </c:pt>
                <c:pt idx="24">
                  <c:v>2013m01</c:v>
                </c:pt>
                <c:pt idx="25">
                  <c:v>2013m02</c:v>
                </c:pt>
                <c:pt idx="26">
                  <c:v>2013m03</c:v>
                </c:pt>
                <c:pt idx="27">
                  <c:v>2013m04</c:v>
                </c:pt>
                <c:pt idx="28">
                  <c:v>2013m05</c:v>
                </c:pt>
                <c:pt idx="29">
                  <c:v>2013m06</c:v>
                </c:pt>
                <c:pt idx="30">
                  <c:v>2013m07</c:v>
                </c:pt>
                <c:pt idx="31">
                  <c:v>2013m08</c:v>
                </c:pt>
                <c:pt idx="32">
                  <c:v>2013m09</c:v>
                </c:pt>
                <c:pt idx="33">
                  <c:v>2013m10</c:v>
                </c:pt>
                <c:pt idx="34">
                  <c:v>2013m11</c:v>
                </c:pt>
                <c:pt idx="35">
                  <c:v>2013m12</c:v>
                </c:pt>
                <c:pt idx="36">
                  <c:v>2014m01</c:v>
                </c:pt>
                <c:pt idx="37">
                  <c:v>2014m02</c:v>
                </c:pt>
                <c:pt idx="38">
                  <c:v>2014m03</c:v>
                </c:pt>
                <c:pt idx="39">
                  <c:v>2014m04</c:v>
                </c:pt>
                <c:pt idx="40">
                  <c:v>2014m05</c:v>
                </c:pt>
                <c:pt idx="41">
                  <c:v>2014m06</c:v>
                </c:pt>
                <c:pt idx="42">
                  <c:v>2014m07</c:v>
                </c:pt>
                <c:pt idx="43">
                  <c:v>2014m08</c:v>
                </c:pt>
                <c:pt idx="44">
                  <c:v>2014m09</c:v>
                </c:pt>
                <c:pt idx="45">
                  <c:v>2014m10</c:v>
                </c:pt>
                <c:pt idx="46">
                  <c:v>2014m11</c:v>
                </c:pt>
                <c:pt idx="47">
                  <c:v>2014m12</c:v>
                </c:pt>
                <c:pt idx="48">
                  <c:v>2015m01</c:v>
                </c:pt>
                <c:pt idx="49">
                  <c:v>2015m02</c:v>
                </c:pt>
                <c:pt idx="50">
                  <c:v>2015m03</c:v>
                </c:pt>
                <c:pt idx="51">
                  <c:v>2015m04</c:v>
                </c:pt>
                <c:pt idx="52">
                  <c:v>2015m05</c:v>
                </c:pt>
                <c:pt idx="53">
                  <c:v>2015m06</c:v>
                </c:pt>
                <c:pt idx="54">
                  <c:v>2015m07</c:v>
                </c:pt>
                <c:pt idx="55">
                  <c:v>2015m08</c:v>
                </c:pt>
                <c:pt idx="56">
                  <c:v>2015m09</c:v>
                </c:pt>
                <c:pt idx="57">
                  <c:v>2015m10</c:v>
                </c:pt>
                <c:pt idx="58">
                  <c:v>2015m11</c:v>
                </c:pt>
                <c:pt idx="59">
                  <c:v>2015m12</c:v>
                </c:pt>
                <c:pt idx="60">
                  <c:v>2016m01</c:v>
                </c:pt>
                <c:pt idx="61">
                  <c:v>2016m02</c:v>
                </c:pt>
                <c:pt idx="62">
                  <c:v>2016m03</c:v>
                </c:pt>
                <c:pt idx="63">
                  <c:v>2016m04</c:v>
                </c:pt>
                <c:pt idx="64">
                  <c:v>2016m05</c:v>
                </c:pt>
                <c:pt idx="65">
                  <c:v>2016m06</c:v>
                </c:pt>
                <c:pt idx="66">
                  <c:v>2016m07</c:v>
                </c:pt>
                <c:pt idx="67">
                  <c:v>2016m08</c:v>
                </c:pt>
                <c:pt idx="68">
                  <c:v>2016m09</c:v>
                </c:pt>
                <c:pt idx="69">
                  <c:v>2016m10</c:v>
                </c:pt>
                <c:pt idx="70">
                  <c:v>2016m11</c:v>
                </c:pt>
                <c:pt idx="71">
                  <c:v>2016m12</c:v>
                </c:pt>
                <c:pt idx="72">
                  <c:v>2017m01</c:v>
                </c:pt>
                <c:pt idx="73">
                  <c:v>2017m02</c:v>
                </c:pt>
                <c:pt idx="74">
                  <c:v>2017m03</c:v>
                </c:pt>
                <c:pt idx="75">
                  <c:v>2017m04</c:v>
                </c:pt>
                <c:pt idx="76">
                  <c:v>2017m05</c:v>
                </c:pt>
                <c:pt idx="77">
                  <c:v>2017m06</c:v>
                </c:pt>
                <c:pt idx="78">
                  <c:v>2017m07</c:v>
                </c:pt>
                <c:pt idx="79">
                  <c:v>2017m08</c:v>
                </c:pt>
                <c:pt idx="80">
                  <c:v>2017m09</c:v>
                </c:pt>
                <c:pt idx="81">
                  <c:v>2017m10</c:v>
                </c:pt>
                <c:pt idx="82">
                  <c:v>2017m11</c:v>
                </c:pt>
                <c:pt idx="83">
                  <c:v>2017m12</c:v>
                </c:pt>
                <c:pt idx="84">
                  <c:v>2018m01</c:v>
                </c:pt>
                <c:pt idx="85">
                  <c:v>2018m02</c:v>
                </c:pt>
                <c:pt idx="86">
                  <c:v>2018m03</c:v>
                </c:pt>
                <c:pt idx="87">
                  <c:v>2018m04</c:v>
                </c:pt>
                <c:pt idx="88">
                  <c:v>2018m05</c:v>
                </c:pt>
                <c:pt idx="89">
                  <c:v>2018m06</c:v>
                </c:pt>
                <c:pt idx="90">
                  <c:v>2018m07</c:v>
                </c:pt>
                <c:pt idx="91">
                  <c:v>2018m08</c:v>
                </c:pt>
                <c:pt idx="92">
                  <c:v>2018m09</c:v>
                </c:pt>
                <c:pt idx="93">
                  <c:v>2018m10</c:v>
                </c:pt>
                <c:pt idx="94">
                  <c:v>2018m11</c:v>
                </c:pt>
                <c:pt idx="95">
                  <c:v>2018m12</c:v>
                </c:pt>
                <c:pt idx="96">
                  <c:v>2019m01</c:v>
                </c:pt>
                <c:pt idx="97">
                  <c:v>2019m02</c:v>
                </c:pt>
                <c:pt idx="98">
                  <c:v>2019m03</c:v>
                </c:pt>
                <c:pt idx="99">
                  <c:v>2019m04</c:v>
                </c:pt>
                <c:pt idx="100">
                  <c:v>2019m05</c:v>
                </c:pt>
                <c:pt idx="101">
                  <c:v>2019m06</c:v>
                </c:pt>
                <c:pt idx="102">
                  <c:v>2019m07</c:v>
                </c:pt>
                <c:pt idx="103">
                  <c:v>2019m08</c:v>
                </c:pt>
                <c:pt idx="104">
                  <c:v>2019m09</c:v>
                </c:pt>
                <c:pt idx="105">
                  <c:v>2019m10</c:v>
                </c:pt>
                <c:pt idx="106">
                  <c:v>2019m11</c:v>
                </c:pt>
                <c:pt idx="107">
                  <c:v>2019m12</c:v>
                </c:pt>
                <c:pt idx="108">
                  <c:v>2020m01</c:v>
                </c:pt>
                <c:pt idx="109">
                  <c:v>2020m02</c:v>
                </c:pt>
                <c:pt idx="110">
                  <c:v>2020m03</c:v>
                </c:pt>
                <c:pt idx="111">
                  <c:v>2020m04</c:v>
                </c:pt>
                <c:pt idx="112">
                  <c:v>2020m05</c:v>
                </c:pt>
                <c:pt idx="113">
                  <c:v>2020m06</c:v>
                </c:pt>
                <c:pt idx="114">
                  <c:v>2020m07</c:v>
                </c:pt>
                <c:pt idx="115">
                  <c:v>2020m08</c:v>
                </c:pt>
                <c:pt idx="116">
                  <c:v>2020m09</c:v>
                </c:pt>
                <c:pt idx="117">
                  <c:v>2020m10</c:v>
                </c:pt>
                <c:pt idx="118">
                  <c:v>2020m11</c:v>
                </c:pt>
                <c:pt idx="119">
                  <c:v>2020m12</c:v>
                </c:pt>
                <c:pt idx="120">
                  <c:v>2021m01</c:v>
                </c:pt>
                <c:pt idx="121">
                  <c:v>2021m02</c:v>
                </c:pt>
                <c:pt idx="122">
                  <c:v>2021m03</c:v>
                </c:pt>
                <c:pt idx="123">
                  <c:v>2021m04</c:v>
                </c:pt>
                <c:pt idx="124">
                  <c:v>2021m05</c:v>
                </c:pt>
                <c:pt idx="125">
                  <c:v>2021m06</c:v>
                </c:pt>
                <c:pt idx="126">
                  <c:v>2021m07</c:v>
                </c:pt>
                <c:pt idx="127">
                  <c:v>2021m08</c:v>
                </c:pt>
                <c:pt idx="128">
                  <c:v>2021m09</c:v>
                </c:pt>
                <c:pt idx="129">
                  <c:v>2021m10</c:v>
                </c:pt>
                <c:pt idx="130">
                  <c:v>2021m11</c:v>
                </c:pt>
                <c:pt idx="131">
                  <c:v>2021m12</c:v>
                </c:pt>
                <c:pt idx="132">
                  <c:v>2022m01</c:v>
                </c:pt>
                <c:pt idx="133">
                  <c:v>2022m02</c:v>
                </c:pt>
                <c:pt idx="134">
                  <c:v>2022m03</c:v>
                </c:pt>
                <c:pt idx="135">
                  <c:v>2022m04</c:v>
                </c:pt>
                <c:pt idx="136">
                  <c:v>2022m05</c:v>
                </c:pt>
                <c:pt idx="137">
                  <c:v>2022m06</c:v>
                </c:pt>
                <c:pt idx="138">
                  <c:v>2022m07</c:v>
                </c:pt>
                <c:pt idx="139">
                  <c:v>2022m08</c:v>
                </c:pt>
                <c:pt idx="140">
                  <c:v>2022m09</c:v>
                </c:pt>
                <c:pt idx="141">
                  <c:v>2022m10</c:v>
                </c:pt>
                <c:pt idx="142">
                  <c:v>2022m11</c:v>
                </c:pt>
                <c:pt idx="143">
                  <c:v>2022m12</c:v>
                </c:pt>
                <c:pt idx="144">
                  <c:v>2023m01</c:v>
                </c:pt>
                <c:pt idx="145">
                  <c:v>2023m02</c:v>
                </c:pt>
                <c:pt idx="146">
                  <c:v>2023m03</c:v>
                </c:pt>
                <c:pt idx="147">
                  <c:v>2023m04</c:v>
                </c:pt>
                <c:pt idx="148">
                  <c:v>2023m05</c:v>
                </c:pt>
                <c:pt idx="149">
                  <c:v>2023m06</c:v>
                </c:pt>
                <c:pt idx="150">
                  <c:v>2023m07</c:v>
                </c:pt>
                <c:pt idx="151">
                  <c:v>2023m08</c:v>
                </c:pt>
                <c:pt idx="152">
                  <c:v>2023m09</c:v>
                </c:pt>
                <c:pt idx="153">
                  <c:v>2023m10</c:v>
                </c:pt>
                <c:pt idx="154">
                  <c:v>2023m11</c:v>
                </c:pt>
                <c:pt idx="155">
                  <c:v>2023m12</c:v>
                </c:pt>
                <c:pt idx="156">
                  <c:v>2024m01</c:v>
                </c:pt>
                <c:pt idx="157">
                  <c:v>2024m02</c:v>
                </c:pt>
                <c:pt idx="158">
                  <c:v>2024m03</c:v>
                </c:pt>
                <c:pt idx="159">
                  <c:v>2024m04</c:v>
                </c:pt>
                <c:pt idx="160">
                  <c:v>2024m05</c:v>
                </c:pt>
                <c:pt idx="161">
                  <c:v>2024m06</c:v>
                </c:pt>
                <c:pt idx="162">
                  <c:v>2024m07</c:v>
                </c:pt>
                <c:pt idx="163">
                  <c:v>2024m08</c:v>
                </c:pt>
                <c:pt idx="164">
                  <c:v>2024m09</c:v>
                </c:pt>
                <c:pt idx="165">
                  <c:v>2024m10</c:v>
                </c:pt>
                <c:pt idx="166">
                  <c:v>2024m11</c:v>
                </c:pt>
                <c:pt idx="167">
                  <c:v>2024m12</c:v>
                </c:pt>
                <c:pt idx="168">
                  <c:v>2025m01</c:v>
                </c:pt>
                <c:pt idx="169">
                  <c:v>2025m02</c:v>
                </c:pt>
                <c:pt idx="170">
                  <c:v>2025m03</c:v>
                </c:pt>
                <c:pt idx="171">
                  <c:v>2025m04</c:v>
                </c:pt>
                <c:pt idx="172">
                  <c:v>2025m05</c:v>
                </c:pt>
                <c:pt idx="173">
                  <c:v>2025m06</c:v>
                </c:pt>
                <c:pt idx="174">
                  <c:v>2025m07</c:v>
                </c:pt>
                <c:pt idx="175">
                  <c:v>2025m08</c:v>
                </c:pt>
                <c:pt idx="176">
                  <c:v>2025m09</c:v>
                </c:pt>
                <c:pt idx="177">
                  <c:v>2025m10</c:v>
                </c:pt>
                <c:pt idx="178">
                  <c:v>2025m11</c:v>
                </c:pt>
              </c:strCache>
            </c:strRef>
          </c:cat>
          <c:val>
            <c:numRef>
              <c:f>'T5-8'!$D$3:$D$181</c:f>
              <c:numCache>
                <c:formatCode>#,##0.0</c:formatCode>
                <c:ptCount val="179"/>
                <c:pt idx="0">
                  <c:v>127.92594719325173</c:v>
                </c:pt>
                <c:pt idx="1">
                  <c:v>124.77261951176747</c:v>
                </c:pt>
                <c:pt idx="2">
                  <c:v>122.88873629372385</c:v>
                </c:pt>
                <c:pt idx="3">
                  <c:v>120.18720620053715</c:v>
                </c:pt>
                <c:pt idx="4">
                  <c:v>115.96061601456864</c:v>
                </c:pt>
                <c:pt idx="5">
                  <c:v>118.01977392922366</c:v>
                </c:pt>
                <c:pt idx="6">
                  <c:v>121.07517049261547</c:v>
                </c:pt>
                <c:pt idx="7">
                  <c:v>121.13277455671692</c:v>
                </c:pt>
                <c:pt idx="8">
                  <c:v>120.54439234909619</c:v>
                </c:pt>
                <c:pt idx="9">
                  <c:v>119.78352574129967</c:v>
                </c:pt>
                <c:pt idx="10">
                  <c:v>121.22685236253572</c:v>
                </c:pt>
                <c:pt idx="11">
                  <c:v>122.84220793623187</c:v>
                </c:pt>
                <c:pt idx="12">
                  <c:v>124.12448763915562</c:v>
                </c:pt>
                <c:pt idx="13">
                  <c:v>127.4342306239422</c:v>
                </c:pt>
                <c:pt idx="14">
                  <c:v>130.97282869100763</c:v>
                </c:pt>
                <c:pt idx="15">
                  <c:v>131.71813504729812</c:v>
                </c:pt>
                <c:pt idx="16">
                  <c:v>131.97856905932474</c:v>
                </c:pt>
                <c:pt idx="17">
                  <c:v>132.96898791732008</c:v>
                </c:pt>
                <c:pt idx="18">
                  <c:v>132.82775543673452</c:v>
                </c:pt>
                <c:pt idx="19">
                  <c:v>132.87693769925818</c:v>
                </c:pt>
                <c:pt idx="20">
                  <c:v>129.01018630311816</c:v>
                </c:pt>
                <c:pt idx="21">
                  <c:v>123.15115244833545</c:v>
                </c:pt>
                <c:pt idx="22">
                  <c:v>121.87099454775681</c:v>
                </c:pt>
                <c:pt idx="23">
                  <c:v>123.39017125223222</c:v>
                </c:pt>
                <c:pt idx="24">
                  <c:v>119.84538825198165</c:v>
                </c:pt>
                <c:pt idx="25">
                  <c:v>119.0709280591317</c:v>
                </c:pt>
                <c:pt idx="26">
                  <c:v>120.8077949922757</c:v>
                </c:pt>
                <c:pt idx="27">
                  <c:v>119.5006960660012</c:v>
                </c:pt>
                <c:pt idx="28">
                  <c:v>119.02172120457601</c:v>
                </c:pt>
                <c:pt idx="29">
                  <c:v>121.07903786658038</c:v>
                </c:pt>
                <c:pt idx="30">
                  <c:v>121.48370910567262</c:v>
                </c:pt>
                <c:pt idx="31">
                  <c:v>121.38428358414561</c:v>
                </c:pt>
                <c:pt idx="32">
                  <c:v>122.62159864642646</c:v>
                </c:pt>
                <c:pt idx="33">
                  <c:v>121.78108335341963</c:v>
                </c:pt>
                <c:pt idx="34">
                  <c:v>122.12897623847593</c:v>
                </c:pt>
                <c:pt idx="35">
                  <c:v>123.04903057872036</c:v>
                </c:pt>
                <c:pt idx="36">
                  <c:v>120.77770919058935</c:v>
                </c:pt>
                <c:pt idx="37">
                  <c:v>121.36418854146807</c:v>
                </c:pt>
                <c:pt idx="38">
                  <c:v>122.8164599588528</c:v>
                </c:pt>
                <c:pt idx="39">
                  <c:v>122.0987450463346</c:v>
                </c:pt>
                <c:pt idx="40">
                  <c:v>121.90266809678086</c:v>
                </c:pt>
                <c:pt idx="41">
                  <c:v>121.89766586942366</c:v>
                </c:pt>
                <c:pt idx="42">
                  <c:v>121.83822403339639</c:v>
                </c:pt>
                <c:pt idx="43">
                  <c:v>123.50935589355348</c:v>
                </c:pt>
                <c:pt idx="44">
                  <c:v>124.44525404625409</c:v>
                </c:pt>
                <c:pt idx="45">
                  <c:v>125.3306434692003</c:v>
                </c:pt>
                <c:pt idx="46">
                  <c:v>125.75221488963051</c:v>
                </c:pt>
                <c:pt idx="47">
                  <c:v>127.86480897046792</c:v>
                </c:pt>
                <c:pt idx="48">
                  <c:v>127.43177616810567</c:v>
                </c:pt>
                <c:pt idx="49">
                  <c:v>125.9231244425209</c:v>
                </c:pt>
                <c:pt idx="50">
                  <c:v>125.43151501331798</c:v>
                </c:pt>
                <c:pt idx="51">
                  <c:v>124.86740824806625</c:v>
                </c:pt>
                <c:pt idx="52">
                  <c:v>126.05508347913204</c:v>
                </c:pt>
                <c:pt idx="53">
                  <c:v>125.43996988382941</c:v>
                </c:pt>
                <c:pt idx="54">
                  <c:v>125.5070393095406</c:v>
                </c:pt>
                <c:pt idx="55">
                  <c:v>124.34093423732065</c:v>
                </c:pt>
                <c:pt idx="56">
                  <c:v>124.56091088455645</c:v>
                </c:pt>
                <c:pt idx="57">
                  <c:v>124.98373234009607</c:v>
                </c:pt>
                <c:pt idx="58">
                  <c:v>125.02989374253303</c:v>
                </c:pt>
                <c:pt idx="59">
                  <c:v>126.38510813460529</c:v>
                </c:pt>
                <c:pt idx="60">
                  <c:v>124.7701930681943</c:v>
                </c:pt>
                <c:pt idx="61">
                  <c:v>125.30378104817807</c:v>
                </c:pt>
                <c:pt idx="62">
                  <c:v>127.32011538916869</c:v>
                </c:pt>
                <c:pt idx="63">
                  <c:v>126.86686526518653</c:v>
                </c:pt>
                <c:pt idx="64">
                  <c:v>127.2081246395614</c:v>
                </c:pt>
                <c:pt idx="65">
                  <c:v>128.03340945779408</c:v>
                </c:pt>
                <c:pt idx="66">
                  <c:v>127.35841162666425</c:v>
                </c:pt>
                <c:pt idx="67">
                  <c:v>126.21743713397332</c:v>
                </c:pt>
                <c:pt idx="68">
                  <c:v>127.39660542199977</c:v>
                </c:pt>
                <c:pt idx="69">
                  <c:v>126.84845851561815</c:v>
                </c:pt>
                <c:pt idx="70">
                  <c:v>126.61575264222921</c:v>
                </c:pt>
                <c:pt idx="71">
                  <c:v>127.51977127073978</c:v>
                </c:pt>
                <c:pt idx="72">
                  <c:v>125.0844964252835</c:v>
                </c:pt>
                <c:pt idx="73">
                  <c:v>124.77684717837566</c:v>
                </c:pt>
                <c:pt idx="74">
                  <c:v>125.5605230687633</c:v>
                </c:pt>
                <c:pt idx="75">
                  <c:v>125.07898851711809</c:v>
                </c:pt>
                <c:pt idx="76">
                  <c:v>124.92771996165781</c:v>
                </c:pt>
                <c:pt idx="77">
                  <c:v>123.62160105280699</c:v>
                </c:pt>
                <c:pt idx="78">
                  <c:v>122.00960492088211</c:v>
                </c:pt>
                <c:pt idx="79">
                  <c:v>121.29414374376528</c:v>
                </c:pt>
                <c:pt idx="80">
                  <c:v>121.48633644264336</c:v>
                </c:pt>
                <c:pt idx="81">
                  <c:v>121.16898139048701</c:v>
                </c:pt>
                <c:pt idx="82">
                  <c:v>120.5365672865247</c:v>
                </c:pt>
                <c:pt idx="83">
                  <c:v>121.19197328365506</c:v>
                </c:pt>
                <c:pt idx="84">
                  <c:v>119.22645175312681</c:v>
                </c:pt>
                <c:pt idx="85">
                  <c:v>118.72339035083286</c:v>
                </c:pt>
                <c:pt idx="86">
                  <c:v>119.90678220599766</c:v>
                </c:pt>
                <c:pt idx="87">
                  <c:v>119.77402201129182</c:v>
                </c:pt>
                <c:pt idx="88">
                  <c:v>119.80829398391026</c:v>
                </c:pt>
                <c:pt idx="89">
                  <c:v>119.37447356057159</c:v>
                </c:pt>
                <c:pt idx="90">
                  <c:v>119.37027986875178</c:v>
                </c:pt>
                <c:pt idx="91">
                  <c:v>119.25479711235373</c:v>
                </c:pt>
                <c:pt idx="92">
                  <c:v>120.25717911419009</c:v>
                </c:pt>
                <c:pt idx="93">
                  <c:v>120.34632128204541</c:v>
                </c:pt>
                <c:pt idx="94">
                  <c:v>119.95132631491596</c:v>
                </c:pt>
                <c:pt idx="95">
                  <c:v>119.82536979883324</c:v>
                </c:pt>
                <c:pt idx="96">
                  <c:v>118.20304101578654</c:v>
                </c:pt>
                <c:pt idx="97">
                  <c:v>117.54639524668895</c:v>
                </c:pt>
                <c:pt idx="98">
                  <c:v>118.01822816634282</c:v>
                </c:pt>
                <c:pt idx="99">
                  <c:v>117.96191773600465</c:v>
                </c:pt>
                <c:pt idx="100">
                  <c:v>118.43222362708069</c:v>
                </c:pt>
                <c:pt idx="101">
                  <c:v>118.93636972977589</c:v>
                </c:pt>
                <c:pt idx="102">
                  <c:v>118.41565024061228</c:v>
                </c:pt>
                <c:pt idx="103">
                  <c:v>118.5680817061897</c:v>
                </c:pt>
                <c:pt idx="104">
                  <c:v>119.32324106386415</c:v>
                </c:pt>
                <c:pt idx="105">
                  <c:v>119.1004583224677</c:v>
                </c:pt>
                <c:pt idx="106">
                  <c:v>118.51755673427157</c:v>
                </c:pt>
                <c:pt idx="107">
                  <c:v>118.40595811615452</c:v>
                </c:pt>
                <c:pt idx="108">
                  <c:v>116.58675837279885</c:v>
                </c:pt>
                <c:pt idx="109">
                  <c:v>116.12914131419515</c:v>
                </c:pt>
                <c:pt idx="110">
                  <c:v>116.90211933557688</c:v>
                </c:pt>
                <c:pt idx="111">
                  <c:v>117.23858422351914</c:v>
                </c:pt>
                <c:pt idx="112">
                  <c:v>117.31334699515025</c:v>
                </c:pt>
                <c:pt idx="113">
                  <c:v>117.0393927525682</c:v>
                </c:pt>
                <c:pt idx="114">
                  <c:v>116.30949522969468</c:v>
                </c:pt>
                <c:pt idx="115">
                  <c:v>115.99085873801138</c:v>
                </c:pt>
                <c:pt idx="116">
                  <c:v>116.73618491764493</c:v>
                </c:pt>
                <c:pt idx="117">
                  <c:v>116.78135429794366</c:v>
                </c:pt>
                <c:pt idx="118">
                  <c:v>116.38880789304139</c:v>
                </c:pt>
                <c:pt idx="119">
                  <c:v>116.59842719465753</c:v>
                </c:pt>
                <c:pt idx="120">
                  <c:v>116.30573647581562</c:v>
                </c:pt>
                <c:pt idx="121">
                  <c:v>115.88460265498206</c:v>
                </c:pt>
                <c:pt idx="122">
                  <c:v>116.31807759753723</c:v>
                </c:pt>
                <c:pt idx="123">
                  <c:v>115.83833206118584</c:v>
                </c:pt>
                <c:pt idx="124">
                  <c:v>115.50916472682563</c:v>
                </c:pt>
                <c:pt idx="125">
                  <c:v>115.47269944920517</c:v>
                </c:pt>
                <c:pt idx="126">
                  <c:v>115.06554682136742</c:v>
                </c:pt>
                <c:pt idx="127">
                  <c:v>114.52575216916095</c:v>
                </c:pt>
                <c:pt idx="128">
                  <c:v>114.12515963802259</c:v>
                </c:pt>
                <c:pt idx="129">
                  <c:v>114.02315763448951</c:v>
                </c:pt>
                <c:pt idx="130">
                  <c:v>113.48288062799134</c:v>
                </c:pt>
                <c:pt idx="131">
                  <c:v>113.52301754218676</c:v>
                </c:pt>
                <c:pt idx="132">
                  <c:v>112.97620423072925</c:v>
                </c:pt>
                <c:pt idx="133">
                  <c:v>112.864108311699</c:v>
                </c:pt>
                <c:pt idx="134">
                  <c:v>114.65340990112307</c:v>
                </c:pt>
                <c:pt idx="135">
                  <c:v>113.62186177976025</c:v>
                </c:pt>
                <c:pt idx="136">
                  <c:v>113.12103096402475</c:v>
                </c:pt>
                <c:pt idx="137">
                  <c:v>112.10236232429546</c:v>
                </c:pt>
                <c:pt idx="138">
                  <c:v>110.97377664578759</c:v>
                </c:pt>
                <c:pt idx="139">
                  <c:v>110.2648370761046</c:v>
                </c:pt>
                <c:pt idx="140">
                  <c:v>109.96143659014463</c:v>
                </c:pt>
                <c:pt idx="141">
                  <c:v>109.49889701998259</c:v>
                </c:pt>
                <c:pt idx="142">
                  <c:v>108.41528246001188</c:v>
                </c:pt>
                <c:pt idx="143">
                  <c:v>107.55067172407153</c:v>
                </c:pt>
                <c:pt idx="144">
                  <c:v>105.92223498649787</c:v>
                </c:pt>
                <c:pt idx="145">
                  <c:v>105.30807771370897</c:v>
                </c:pt>
                <c:pt idx="146">
                  <c:v>105.30647838139815</c:v>
                </c:pt>
                <c:pt idx="147">
                  <c:v>105.25438312379555</c:v>
                </c:pt>
                <c:pt idx="148">
                  <c:v>104.36949429110726</c:v>
                </c:pt>
                <c:pt idx="149">
                  <c:v>103.8298843684354</c:v>
                </c:pt>
                <c:pt idx="150">
                  <c:v>103.81473489669845</c:v>
                </c:pt>
                <c:pt idx="151">
                  <c:v>103.92711060712958</c:v>
                </c:pt>
                <c:pt idx="152">
                  <c:v>104.01532881937922</c:v>
                </c:pt>
                <c:pt idx="153">
                  <c:v>103.75192116887585</c:v>
                </c:pt>
                <c:pt idx="154">
                  <c:v>102.63990626393503</c:v>
                </c:pt>
                <c:pt idx="155">
                  <c:v>102.68404542552517</c:v>
                </c:pt>
                <c:pt idx="156">
                  <c:v>102.1354947997648</c:v>
                </c:pt>
                <c:pt idx="157">
                  <c:v>102.08468216905044</c:v>
                </c:pt>
                <c:pt idx="158" formatCode="0.0">
                  <c:v>102.6494614046633</c:v>
                </c:pt>
                <c:pt idx="159" formatCode="0.0">
                  <c:v>102.43722087553677</c:v>
                </c:pt>
                <c:pt idx="160" formatCode="0.0">
                  <c:v>102.31604353542711</c:v>
                </c:pt>
                <c:pt idx="161" formatCode="0.0">
                  <c:v>102.4154033094423</c:v>
                </c:pt>
                <c:pt idx="162" formatCode="0.0">
                  <c:v>101.92353530479474</c:v>
                </c:pt>
                <c:pt idx="163" formatCode="0.0">
                  <c:v>101.64166036327593</c:v>
                </c:pt>
                <c:pt idx="164" formatCode="0.0">
                  <c:v>101.45835126389579</c:v>
                </c:pt>
                <c:pt idx="165" formatCode="0.0">
                  <c:v>101.13247389031137</c:v>
                </c:pt>
                <c:pt idx="166" formatCode="0.0">
                  <c:v>100.47676776603448</c:v>
                </c:pt>
                <c:pt idx="167" formatCode="0.0">
                  <c:v>100.70332846375891</c:v>
                </c:pt>
                <c:pt idx="168" formatCode="0.0">
                  <c:v>99.962542597401864</c:v>
                </c:pt>
                <c:pt idx="169" formatCode="0.0">
                  <c:v>99.89605136066946</c:v>
                </c:pt>
                <c:pt idx="170" formatCode="0.0">
                  <c:v>100.42891066738731</c:v>
                </c:pt>
                <c:pt idx="171" formatCode="0.0">
                  <c:v>100.70638810343543</c:v>
                </c:pt>
                <c:pt idx="172" formatCode="0.0">
                  <c:v>100.47479569340241</c:v>
                </c:pt>
                <c:pt idx="173" formatCode="0.0">
                  <c:v>99.855872654295979</c:v>
                </c:pt>
                <c:pt idx="174" formatCode="0.0">
                  <c:v>99.27533341270329</c:v>
                </c:pt>
                <c:pt idx="175" formatCode="0.0">
                  <c:v>99.224700899177861</c:v>
                </c:pt>
                <c:pt idx="176" formatCode="0.0">
                  <c:v>100.90310695949989</c:v>
                </c:pt>
                <c:pt idx="177" formatCode="0.0">
                  <c:v>100.63420135104123</c:v>
                </c:pt>
                <c:pt idx="178" formatCode="0.0">
                  <c:v>100.0910253856958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A01-411D-9431-FEDD78BDF6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543456"/>
        <c:axId val="-104542912"/>
      </c:lineChart>
      <c:lineChart>
        <c:grouping val="standard"/>
        <c:varyColors val="0"/>
        <c:ser>
          <c:idx val="0"/>
          <c:order val="0"/>
          <c:tx>
            <c:strRef>
              <c:f>'T5-8'!$C$2</c:f>
              <c:strCache>
                <c:ptCount val="1"/>
                <c:pt idx="0">
                  <c:v>Nominalni kurs dinara(desna skala)</c:v>
                </c:pt>
              </c:strCache>
            </c:strRef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strRef>
              <c:f>'T5-8'!$B$3:$B$181</c:f>
              <c:strCache>
                <c:ptCount val="179"/>
                <c:pt idx="0">
                  <c:v>2011m01</c:v>
                </c:pt>
                <c:pt idx="1">
                  <c:v>2011m02</c:v>
                </c:pt>
                <c:pt idx="2">
                  <c:v>2011m03</c:v>
                </c:pt>
                <c:pt idx="3">
                  <c:v>2011m04</c:v>
                </c:pt>
                <c:pt idx="4">
                  <c:v>2011m05</c:v>
                </c:pt>
                <c:pt idx="5">
                  <c:v>2011m06</c:v>
                </c:pt>
                <c:pt idx="6">
                  <c:v>2011m07</c:v>
                </c:pt>
                <c:pt idx="7">
                  <c:v>2011m08</c:v>
                </c:pt>
                <c:pt idx="8">
                  <c:v>2011m09</c:v>
                </c:pt>
                <c:pt idx="9">
                  <c:v>2011m10</c:v>
                </c:pt>
                <c:pt idx="10">
                  <c:v>2011m11</c:v>
                </c:pt>
                <c:pt idx="11">
                  <c:v>2011m12</c:v>
                </c:pt>
                <c:pt idx="12">
                  <c:v>2012m01</c:v>
                </c:pt>
                <c:pt idx="13">
                  <c:v>2012m02</c:v>
                </c:pt>
                <c:pt idx="14">
                  <c:v>2012m03</c:v>
                </c:pt>
                <c:pt idx="15">
                  <c:v>2012m04</c:v>
                </c:pt>
                <c:pt idx="16">
                  <c:v>2012m05</c:v>
                </c:pt>
                <c:pt idx="17">
                  <c:v>2012m06</c:v>
                </c:pt>
                <c:pt idx="18">
                  <c:v>2012m07</c:v>
                </c:pt>
                <c:pt idx="19">
                  <c:v>2012m08</c:v>
                </c:pt>
                <c:pt idx="20">
                  <c:v>2012m09</c:v>
                </c:pt>
                <c:pt idx="21">
                  <c:v>2012m10</c:v>
                </c:pt>
                <c:pt idx="22">
                  <c:v>2012m11</c:v>
                </c:pt>
                <c:pt idx="23">
                  <c:v>2012m12</c:v>
                </c:pt>
                <c:pt idx="24">
                  <c:v>2013m01</c:v>
                </c:pt>
                <c:pt idx="25">
                  <c:v>2013m02</c:v>
                </c:pt>
                <c:pt idx="26">
                  <c:v>2013m03</c:v>
                </c:pt>
                <c:pt idx="27">
                  <c:v>2013m04</c:v>
                </c:pt>
                <c:pt idx="28">
                  <c:v>2013m05</c:v>
                </c:pt>
                <c:pt idx="29">
                  <c:v>2013m06</c:v>
                </c:pt>
                <c:pt idx="30">
                  <c:v>2013m07</c:v>
                </c:pt>
                <c:pt idx="31">
                  <c:v>2013m08</c:v>
                </c:pt>
                <c:pt idx="32">
                  <c:v>2013m09</c:v>
                </c:pt>
                <c:pt idx="33">
                  <c:v>2013m10</c:v>
                </c:pt>
                <c:pt idx="34">
                  <c:v>2013m11</c:v>
                </c:pt>
                <c:pt idx="35">
                  <c:v>2013m12</c:v>
                </c:pt>
                <c:pt idx="36">
                  <c:v>2014m01</c:v>
                </c:pt>
                <c:pt idx="37">
                  <c:v>2014m02</c:v>
                </c:pt>
                <c:pt idx="38">
                  <c:v>2014m03</c:v>
                </c:pt>
                <c:pt idx="39">
                  <c:v>2014m04</c:v>
                </c:pt>
                <c:pt idx="40">
                  <c:v>2014m05</c:v>
                </c:pt>
                <c:pt idx="41">
                  <c:v>2014m06</c:v>
                </c:pt>
                <c:pt idx="42">
                  <c:v>2014m07</c:v>
                </c:pt>
                <c:pt idx="43">
                  <c:v>2014m08</c:v>
                </c:pt>
                <c:pt idx="44">
                  <c:v>2014m09</c:v>
                </c:pt>
                <c:pt idx="45">
                  <c:v>2014m10</c:v>
                </c:pt>
                <c:pt idx="46">
                  <c:v>2014m11</c:v>
                </c:pt>
                <c:pt idx="47">
                  <c:v>2014m12</c:v>
                </c:pt>
                <c:pt idx="48">
                  <c:v>2015m01</c:v>
                </c:pt>
                <c:pt idx="49">
                  <c:v>2015m02</c:v>
                </c:pt>
                <c:pt idx="50">
                  <c:v>2015m03</c:v>
                </c:pt>
                <c:pt idx="51">
                  <c:v>2015m04</c:v>
                </c:pt>
                <c:pt idx="52">
                  <c:v>2015m05</c:v>
                </c:pt>
                <c:pt idx="53">
                  <c:v>2015m06</c:v>
                </c:pt>
                <c:pt idx="54">
                  <c:v>2015m07</c:v>
                </c:pt>
                <c:pt idx="55">
                  <c:v>2015m08</c:v>
                </c:pt>
                <c:pt idx="56">
                  <c:v>2015m09</c:v>
                </c:pt>
                <c:pt idx="57">
                  <c:v>2015m10</c:v>
                </c:pt>
                <c:pt idx="58">
                  <c:v>2015m11</c:v>
                </c:pt>
                <c:pt idx="59">
                  <c:v>2015m12</c:v>
                </c:pt>
                <c:pt idx="60">
                  <c:v>2016m01</c:v>
                </c:pt>
                <c:pt idx="61">
                  <c:v>2016m02</c:v>
                </c:pt>
                <c:pt idx="62">
                  <c:v>2016m03</c:v>
                </c:pt>
                <c:pt idx="63">
                  <c:v>2016m04</c:v>
                </c:pt>
                <c:pt idx="64">
                  <c:v>2016m05</c:v>
                </c:pt>
                <c:pt idx="65">
                  <c:v>2016m06</c:v>
                </c:pt>
                <c:pt idx="66">
                  <c:v>2016m07</c:v>
                </c:pt>
                <c:pt idx="67">
                  <c:v>2016m08</c:v>
                </c:pt>
                <c:pt idx="68">
                  <c:v>2016m09</c:v>
                </c:pt>
                <c:pt idx="69">
                  <c:v>2016m10</c:v>
                </c:pt>
                <c:pt idx="70">
                  <c:v>2016m11</c:v>
                </c:pt>
                <c:pt idx="71">
                  <c:v>2016m12</c:v>
                </c:pt>
                <c:pt idx="72">
                  <c:v>2017m01</c:v>
                </c:pt>
                <c:pt idx="73">
                  <c:v>2017m02</c:v>
                </c:pt>
                <c:pt idx="74">
                  <c:v>2017m03</c:v>
                </c:pt>
                <c:pt idx="75">
                  <c:v>2017m04</c:v>
                </c:pt>
                <c:pt idx="76">
                  <c:v>2017m05</c:v>
                </c:pt>
                <c:pt idx="77">
                  <c:v>2017m06</c:v>
                </c:pt>
                <c:pt idx="78">
                  <c:v>2017m07</c:v>
                </c:pt>
                <c:pt idx="79">
                  <c:v>2017m08</c:v>
                </c:pt>
                <c:pt idx="80">
                  <c:v>2017m09</c:v>
                </c:pt>
                <c:pt idx="81">
                  <c:v>2017m10</c:v>
                </c:pt>
                <c:pt idx="82">
                  <c:v>2017m11</c:v>
                </c:pt>
                <c:pt idx="83">
                  <c:v>2017m12</c:v>
                </c:pt>
                <c:pt idx="84">
                  <c:v>2018m01</c:v>
                </c:pt>
                <c:pt idx="85">
                  <c:v>2018m02</c:v>
                </c:pt>
                <c:pt idx="86">
                  <c:v>2018m03</c:v>
                </c:pt>
                <c:pt idx="87">
                  <c:v>2018m04</c:v>
                </c:pt>
                <c:pt idx="88">
                  <c:v>2018m05</c:v>
                </c:pt>
                <c:pt idx="89">
                  <c:v>2018m06</c:v>
                </c:pt>
                <c:pt idx="90">
                  <c:v>2018m07</c:v>
                </c:pt>
                <c:pt idx="91">
                  <c:v>2018m08</c:v>
                </c:pt>
                <c:pt idx="92">
                  <c:v>2018m09</c:v>
                </c:pt>
                <c:pt idx="93">
                  <c:v>2018m10</c:v>
                </c:pt>
                <c:pt idx="94">
                  <c:v>2018m11</c:v>
                </c:pt>
                <c:pt idx="95">
                  <c:v>2018m12</c:v>
                </c:pt>
                <c:pt idx="96">
                  <c:v>2019m01</c:v>
                </c:pt>
                <c:pt idx="97">
                  <c:v>2019m02</c:v>
                </c:pt>
                <c:pt idx="98">
                  <c:v>2019m03</c:v>
                </c:pt>
                <c:pt idx="99">
                  <c:v>2019m04</c:v>
                </c:pt>
                <c:pt idx="100">
                  <c:v>2019m05</c:v>
                </c:pt>
                <c:pt idx="101">
                  <c:v>2019m06</c:v>
                </c:pt>
                <c:pt idx="102">
                  <c:v>2019m07</c:v>
                </c:pt>
                <c:pt idx="103">
                  <c:v>2019m08</c:v>
                </c:pt>
                <c:pt idx="104">
                  <c:v>2019m09</c:v>
                </c:pt>
                <c:pt idx="105">
                  <c:v>2019m10</c:v>
                </c:pt>
                <c:pt idx="106">
                  <c:v>2019m11</c:v>
                </c:pt>
                <c:pt idx="107">
                  <c:v>2019m12</c:v>
                </c:pt>
                <c:pt idx="108">
                  <c:v>2020m01</c:v>
                </c:pt>
                <c:pt idx="109">
                  <c:v>2020m02</c:v>
                </c:pt>
                <c:pt idx="110">
                  <c:v>2020m03</c:v>
                </c:pt>
                <c:pt idx="111">
                  <c:v>2020m04</c:v>
                </c:pt>
                <c:pt idx="112">
                  <c:v>2020m05</c:v>
                </c:pt>
                <c:pt idx="113">
                  <c:v>2020m06</c:v>
                </c:pt>
                <c:pt idx="114">
                  <c:v>2020m07</c:v>
                </c:pt>
                <c:pt idx="115">
                  <c:v>2020m08</c:v>
                </c:pt>
                <c:pt idx="116">
                  <c:v>2020m09</c:v>
                </c:pt>
                <c:pt idx="117">
                  <c:v>2020m10</c:v>
                </c:pt>
                <c:pt idx="118">
                  <c:v>2020m11</c:v>
                </c:pt>
                <c:pt idx="119">
                  <c:v>2020m12</c:v>
                </c:pt>
                <c:pt idx="120">
                  <c:v>2021m01</c:v>
                </c:pt>
                <c:pt idx="121">
                  <c:v>2021m02</c:v>
                </c:pt>
                <c:pt idx="122">
                  <c:v>2021m03</c:v>
                </c:pt>
                <c:pt idx="123">
                  <c:v>2021m04</c:v>
                </c:pt>
                <c:pt idx="124">
                  <c:v>2021m05</c:v>
                </c:pt>
                <c:pt idx="125">
                  <c:v>2021m06</c:v>
                </c:pt>
                <c:pt idx="126">
                  <c:v>2021m07</c:v>
                </c:pt>
                <c:pt idx="127">
                  <c:v>2021m08</c:v>
                </c:pt>
                <c:pt idx="128">
                  <c:v>2021m09</c:v>
                </c:pt>
                <c:pt idx="129">
                  <c:v>2021m10</c:v>
                </c:pt>
                <c:pt idx="130">
                  <c:v>2021m11</c:v>
                </c:pt>
                <c:pt idx="131">
                  <c:v>2021m12</c:v>
                </c:pt>
                <c:pt idx="132">
                  <c:v>2022m01</c:v>
                </c:pt>
                <c:pt idx="133">
                  <c:v>2022m02</c:v>
                </c:pt>
                <c:pt idx="134">
                  <c:v>2022m03</c:v>
                </c:pt>
                <c:pt idx="135">
                  <c:v>2022m04</c:v>
                </c:pt>
                <c:pt idx="136">
                  <c:v>2022m05</c:v>
                </c:pt>
                <c:pt idx="137">
                  <c:v>2022m06</c:v>
                </c:pt>
                <c:pt idx="138">
                  <c:v>2022m07</c:v>
                </c:pt>
                <c:pt idx="139">
                  <c:v>2022m08</c:v>
                </c:pt>
                <c:pt idx="140">
                  <c:v>2022m09</c:v>
                </c:pt>
                <c:pt idx="141">
                  <c:v>2022m10</c:v>
                </c:pt>
                <c:pt idx="142">
                  <c:v>2022m11</c:v>
                </c:pt>
                <c:pt idx="143">
                  <c:v>2022m12</c:v>
                </c:pt>
                <c:pt idx="144">
                  <c:v>2023m01</c:v>
                </c:pt>
                <c:pt idx="145">
                  <c:v>2023m02</c:v>
                </c:pt>
                <c:pt idx="146">
                  <c:v>2023m03</c:v>
                </c:pt>
                <c:pt idx="147">
                  <c:v>2023m04</c:v>
                </c:pt>
                <c:pt idx="148">
                  <c:v>2023m05</c:v>
                </c:pt>
                <c:pt idx="149">
                  <c:v>2023m06</c:v>
                </c:pt>
                <c:pt idx="150">
                  <c:v>2023m07</c:v>
                </c:pt>
                <c:pt idx="151">
                  <c:v>2023m08</c:v>
                </c:pt>
                <c:pt idx="152">
                  <c:v>2023m09</c:v>
                </c:pt>
                <c:pt idx="153">
                  <c:v>2023m10</c:v>
                </c:pt>
                <c:pt idx="154">
                  <c:v>2023m11</c:v>
                </c:pt>
                <c:pt idx="155">
                  <c:v>2023m12</c:v>
                </c:pt>
                <c:pt idx="156">
                  <c:v>2024m01</c:v>
                </c:pt>
                <c:pt idx="157">
                  <c:v>2024m02</c:v>
                </c:pt>
                <c:pt idx="158">
                  <c:v>2024m03</c:v>
                </c:pt>
                <c:pt idx="159">
                  <c:v>2024m04</c:v>
                </c:pt>
                <c:pt idx="160">
                  <c:v>2024m05</c:v>
                </c:pt>
                <c:pt idx="161">
                  <c:v>2024m06</c:v>
                </c:pt>
                <c:pt idx="162">
                  <c:v>2024m07</c:v>
                </c:pt>
                <c:pt idx="163">
                  <c:v>2024m08</c:v>
                </c:pt>
                <c:pt idx="164">
                  <c:v>2024m09</c:v>
                </c:pt>
                <c:pt idx="165">
                  <c:v>2024m10</c:v>
                </c:pt>
                <c:pt idx="166">
                  <c:v>2024m11</c:v>
                </c:pt>
                <c:pt idx="167">
                  <c:v>2024m12</c:v>
                </c:pt>
                <c:pt idx="168">
                  <c:v>2025m01</c:v>
                </c:pt>
                <c:pt idx="169">
                  <c:v>2025m02</c:v>
                </c:pt>
                <c:pt idx="170">
                  <c:v>2025m03</c:v>
                </c:pt>
                <c:pt idx="171">
                  <c:v>2025m04</c:v>
                </c:pt>
                <c:pt idx="172">
                  <c:v>2025m05</c:v>
                </c:pt>
                <c:pt idx="173">
                  <c:v>2025m06</c:v>
                </c:pt>
                <c:pt idx="174">
                  <c:v>2025m07</c:v>
                </c:pt>
                <c:pt idx="175">
                  <c:v>2025m08</c:v>
                </c:pt>
                <c:pt idx="176">
                  <c:v>2025m09</c:v>
                </c:pt>
                <c:pt idx="177">
                  <c:v>2025m10</c:v>
                </c:pt>
                <c:pt idx="178">
                  <c:v>2025m11</c:v>
                </c:pt>
              </c:strCache>
            </c:strRef>
          </c:cat>
          <c:val>
            <c:numRef>
              <c:f>'T5-8'!$C$3:$C$181</c:f>
              <c:numCache>
                <c:formatCode>#,##0.0</c:formatCode>
                <c:ptCount val="179"/>
                <c:pt idx="0">
                  <c:v>105.13500000000001</c:v>
                </c:pt>
                <c:pt idx="1">
                  <c:v>103.5239</c:v>
                </c:pt>
                <c:pt idx="2">
                  <c:v>103.3352</c:v>
                </c:pt>
                <c:pt idx="3">
                  <c:v>101.4395</c:v>
                </c:pt>
                <c:pt idx="4">
                  <c:v>98.237399999999994</c:v>
                </c:pt>
                <c:pt idx="5">
                  <c:v>99.796000000000006</c:v>
                </c:pt>
                <c:pt idx="6">
                  <c:v>102.3854</c:v>
                </c:pt>
                <c:pt idx="7">
                  <c:v>102.25449999999999</c:v>
                </c:pt>
                <c:pt idx="8">
                  <c:v>101.21120000000001</c:v>
                </c:pt>
                <c:pt idx="9">
                  <c:v>100.5981</c:v>
                </c:pt>
                <c:pt idx="10">
                  <c:v>102.676</c:v>
                </c:pt>
                <c:pt idx="11">
                  <c:v>102.9332</c:v>
                </c:pt>
                <c:pt idx="12">
                  <c:v>105.0385</c:v>
                </c:pt>
                <c:pt idx="13">
                  <c:v>108.10380000000001</c:v>
                </c:pt>
                <c:pt idx="14">
                  <c:v>110.8994</c:v>
                </c:pt>
                <c:pt idx="15">
                  <c:v>111.6258</c:v>
                </c:pt>
                <c:pt idx="16">
                  <c:v>113.6014</c:v>
                </c:pt>
                <c:pt idx="17">
                  <c:v>115.7713</c:v>
                </c:pt>
                <c:pt idx="18">
                  <c:v>116.4641</c:v>
                </c:pt>
                <c:pt idx="19">
                  <c:v>117.8899</c:v>
                </c:pt>
                <c:pt idx="20">
                  <c:v>116.3999</c:v>
                </c:pt>
                <c:pt idx="21">
                  <c:v>113.85939999999999</c:v>
                </c:pt>
                <c:pt idx="22">
                  <c:v>112.911</c:v>
                </c:pt>
                <c:pt idx="23">
                  <c:v>113.54130000000001</c:v>
                </c:pt>
                <c:pt idx="24">
                  <c:v>111.9624</c:v>
                </c:pt>
                <c:pt idx="25">
                  <c:v>111.3937</c:v>
                </c:pt>
                <c:pt idx="26">
                  <c:v>111.7175</c:v>
                </c:pt>
                <c:pt idx="27">
                  <c:v>111.50109999999999</c:v>
                </c:pt>
                <c:pt idx="28">
                  <c:v>110.9393</c:v>
                </c:pt>
                <c:pt idx="29">
                  <c:v>114.0235</c:v>
                </c:pt>
                <c:pt idx="30">
                  <c:v>113.90430000000001</c:v>
                </c:pt>
                <c:pt idx="31">
                  <c:v>114.0325</c:v>
                </c:pt>
                <c:pt idx="32">
                  <c:v>114.6447</c:v>
                </c:pt>
                <c:pt idx="33">
                  <c:v>114.1905</c:v>
                </c:pt>
                <c:pt idx="34">
                  <c:v>114.06489999999999</c:v>
                </c:pt>
                <c:pt idx="35">
                  <c:v>114.7101</c:v>
                </c:pt>
                <c:pt idx="36">
                  <c:v>115.50069999999999</c:v>
                </c:pt>
                <c:pt idx="37">
                  <c:v>115.8995</c:v>
                </c:pt>
                <c:pt idx="38">
                  <c:v>115.8434</c:v>
                </c:pt>
                <c:pt idx="39">
                  <c:v>115.5407</c:v>
                </c:pt>
                <c:pt idx="40">
                  <c:v>115.65779999999999</c:v>
                </c:pt>
                <c:pt idx="41">
                  <c:v>115.5341</c:v>
                </c:pt>
                <c:pt idx="42">
                  <c:v>116.22490000000001</c:v>
                </c:pt>
                <c:pt idx="43">
                  <c:v>117.3078</c:v>
                </c:pt>
                <c:pt idx="44">
                  <c:v>118.61799999999999</c:v>
                </c:pt>
                <c:pt idx="45">
                  <c:v>119.3497</c:v>
                </c:pt>
                <c:pt idx="46">
                  <c:v>119.9829</c:v>
                </c:pt>
                <c:pt idx="47">
                  <c:v>121.5283</c:v>
                </c:pt>
                <c:pt idx="48">
                  <c:v>122.6152</c:v>
                </c:pt>
                <c:pt idx="49">
                  <c:v>121.57550000000001</c:v>
                </c:pt>
                <c:pt idx="50">
                  <c:v>120.46980000000001</c:v>
                </c:pt>
                <c:pt idx="51">
                  <c:v>120.1713</c:v>
                </c:pt>
                <c:pt idx="52">
                  <c:v>120.59480000000001</c:v>
                </c:pt>
                <c:pt idx="53">
                  <c:v>120.5552</c:v>
                </c:pt>
                <c:pt idx="54">
                  <c:v>120.21339999999999</c:v>
                </c:pt>
                <c:pt idx="55">
                  <c:v>120.2218</c:v>
                </c:pt>
                <c:pt idx="56">
                  <c:v>120.187</c:v>
                </c:pt>
                <c:pt idx="57">
                  <c:v>120.07989999999999</c:v>
                </c:pt>
                <c:pt idx="58">
                  <c:v>120.65049999999999</c:v>
                </c:pt>
                <c:pt idx="59">
                  <c:v>121.7517</c:v>
                </c:pt>
                <c:pt idx="60">
                  <c:v>122.54519999999999</c:v>
                </c:pt>
                <c:pt idx="61">
                  <c:v>122.87649999999999</c:v>
                </c:pt>
                <c:pt idx="62">
                  <c:v>123.13209999999999</c:v>
                </c:pt>
                <c:pt idx="63">
                  <c:v>122.80800000000001</c:v>
                </c:pt>
                <c:pt idx="64">
                  <c:v>122.8245</c:v>
                </c:pt>
                <c:pt idx="65">
                  <c:v>123.4</c:v>
                </c:pt>
                <c:pt idx="66">
                  <c:v>123.3489</c:v>
                </c:pt>
                <c:pt idx="67">
                  <c:v>123.3053</c:v>
                </c:pt>
                <c:pt idx="68">
                  <c:v>123.2312</c:v>
                </c:pt>
                <c:pt idx="69">
                  <c:v>123.1782</c:v>
                </c:pt>
                <c:pt idx="70">
                  <c:v>123.1874</c:v>
                </c:pt>
                <c:pt idx="71">
                  <c:v>123.4187</c:v>
                </c:pt>
                <c:pt idx="72">
                  <c:v>123.8002</c:v>
                </c:pt>
                <c:pt idx="73">
                  <c:v>123.9417</c:v>
                </c:pt>
                <c:pt idx="74">
                  <c:v>123.8934</c:v>
                </c:pt>
                <c:pt idx="75">
                  <c:v>123.6581</c:v>
                </c:pt>
                <c:pt idx="76">
                  <c:v>123.0471</c:v>
                </c:pt>
                <c:pt idx="77">
                  <c:v>122.0189</c:v>
                </c:pt>
                <c:pt idx="78">
                  <c:v>120.4183</c:v>
                </c:pt>
                <c:pt idx="79">
                  <c:v>119.574</c:v>
                </c:pt>
                <c:pt idx="80">
                  <c:v>119.2957</c:v>
                </c:pt>
                <c:pt idx="81">
                  <c:v>119.2818</c:v>
                </c:pt>
                <c:pt idx="82" formatCode="0.0">
                  <c:v>118.89879999999999</c:v>
                </c:pt>
                <c:pt idx="83" formatCode="0.0">
                  <c:v>119.13939999999999</c:v>
                </c:pt>
                <c:pt idx="84" formatCode="0.0">
                  <c:v>118.6177</c:v>
                </c:pt>
                <c:pt idx="85" formatCode="0.0">
                  <c:v>118.39149999999999</c:v>
                </c:pt>
                <c:pt idx="86" formatCode="0.0">
                  <c:v>118.2688</c:v>
                </c:pt>
                <c:pt idx="87" formatCode="0.0">
                  <c:v>118.19159999999999</c:v>
                </c:pt>
                <c:pt idx="88" formatCode="0.0">
                  <c:v>118.1889</c:v>
                </c:pt>
                <c:pt idx="89" formatCode="0.0">
                  <c:v>118.1348</c:v>
                </c:pt>
                <c:pt idx="90" formatCode="0.0">
                  <c:v>118.04730000000001</c:v>
                </c:pt>
                <c:pt idx="91" formatCode="0.0">
                  <c:v>118.1041</c:v>
                </c:pt>
                <c:pt idx="92" formatCode="0.0">
                  <c:v>118.2786</c:v>
                </c:pt>
                <c:pt idx="93" formatCode="0.0">
                  <c:v>118.4367</c:v>
                </c:pt>
                <c:pt idx="94" formatCode="0.0">
                  <c:v>118.3429</c:v>
                </c:pt>
                <c:pt idx="95" formatCode="0.0">
                  <c:v>118.27719999999999</c:v>
                </c:pt>
                <c:pt idx="96" formatCode="0.0">
                  <c:v>118.40779999999999</c:v>
                </c:pt>
                <c:pt idx="97" formatCode="0.0">
                  <c:v>118.24209999999999</c:v>
                </c:pt>
                <c:pt idx="98" formatCode="0.0">
                  <c:v>118.0416</c:v>
                </c:pt>
                <c:pt idx="99" formatCode="0.0">
                  <c:v>117.99379999999999</c:v>
                </c:pt>
                <c:pt idx="100" formatCode="0.0">
                  <c:v>117.96469999999999</c:v>
                </c:pt>
                <c:pt idx="101" formatCode="0.0">
                  <c:v>117.93770000000001</c:v>
                </c:pt>
                <c:pt idx="102" formatCode="0.0">
                  <c:v>117.78449999999999</c:v>
                </c:pt>
                <c:pt idx="103" formatCode="0.0">
                  <c:v>117.777</c:v>
                </c:pt>
                <c:pt idx="104" formatCode="0.0">
                  <c:v>117.5958</c:v>
                </c:pt>
                <c:pt idx="105" formatCode="0.0">
                  <c:v>117.5453</c:v>
                </c:pt>
                <c:pt idx="106" formatCode="0.0">
                  <c:v>117.5132</c:v>
                </c:pt>
                <c:pt idx="107" formatCode="0.0">
                  <c:v>117.53830000000001</c:v>
                </c:pt>
                <c:pt idx="108" formatCode="0.0">
                  <c:v>117.5643</c:v>
                </c:pt>
                <c:pt idx="109" formatCode="0.0">
                  <c:v>117.57170000000001</c:v>
                </c:pt>
                <c:pt idx="110" formatCode="0.0">
                  <c:v>117.5625</c:v>
                </c:pt>
                <c:pt idx="111" formatCode="0.0">
                  <c:v>117.5694</c:v>
                </c:pt>
                <c:pt idx="112" formatCode="0.0">
                  <c:v>117.5913</c:v>
                </c:pt>
                <c:pt idx="113" formatCode="0.0">
                  <c:v>117.5852</c:v>
                </c:pt>
                <c:pt idx="114" formatCode="0.0">
                  <c:v>117.58580000000001</c:v>
                </c:pt>
                <c:pt idx="115" formatCode="0.0">
                  <c:v>117.5865</c:v>
                </c:pt>
                <c:pt idx="116" formatCode="0.0">
                  <c:v>117.583</c:v>
                </c:pt>
                <c:pt idx="117" formatCode="0.0">
                  <c:v>117.58</c:v>
                </c:pt>
                <c:pt idx="118" formatCode="0.0">
                  <c:v>117.57380000000001</c:v>
                </c:pt>
                <c:pt idx="119" formatCode="0.0">
                  <c:v>117.57769999999999</c:v>
                </c:pt>
                <c:pt idx="120" formatCode="0.0">
                  <c:v>117.58199999999999</c:v>
                </c:pt>
                <c:pt idx="121" formatCode="0.0">
                  <c:v>117.57640000000001</c:v>
                </c:pt>
                <c:pt idx="122" formatCode="0.0">
                  <c:v>117.5766</c:v>
                </c:pt>
                <c:pt idx="123" formatCode="0.0">
                  <c:v>117.5728</c:v>
                </c:pt>
                <c:pt idx="124" formatCode="0.0">
                  <c:v>117.5789</c:v>
                </c:pt>
                <c:pt idx="125" formatCode="0.0">
                  <c:v>117.5703</c:v>
                </c:pt>
                <c:pt idx="126" formatCode="0.0">
                  <c:v>117.5629</c:v>
                </c:pt>
                <c:pt idx="127" formatCode="0.0">
                  <c:v>117.5675</c:v>
                </c:pt>
                <c:pt idx="128" formatCode="0.0">
                  <c:v>117.5668</c:v>
                </c:pt>
                <c:pt idx="129" formatCode="0.0">
                  <c:v>117.56740000000001</c:v>
                </c:pt>
                <c:pt idx="130" formatCode="0.0">
                  <c:v>117.5806</c:v>
                </c:pt>
                <c:pt idx="131" formatCode="0.0">
                  <c:v>117.5801</c:v>
                </c:pt>
                <c:pt idx="132" formatCode="0.0">
                  <c:v>117.5843</c:v>
                </c:pt>
                <c:pt idx="133" formatCode="0.0">
                  <c:v>117.5907</c:v>
                </c:pt>
                <c:pt idx="134" formatCode="0.0">
                  <c:v>117.67659999999999</c:v>
                </c:pt>
                <c:pt idx="135" formatCode="0.0">
                  <c:v>117.72750000000001</c:v>
                </c:pt>
                <c:pt idx="136" formatCode="0.0">
                  <c:v>117.55719999999999</c:v>
                </c:pt>
                <c:pt idx="137" formatCode="0.0">
                  <c:v>117.4297</c:v>
                </c:pt>
                <c:pt idx="138" formatCode="0.0">
                  <c:v>117.3938</c:v>
                </c:pt>
                <c:pt idx="139" formatCode="0.0">
                  <c:v>117.355</c:v>
                </c:pt>
                <c:pt idx="140" formatCode="0.0">
                  <c:v>117.3246</c:v>
                </c:pt>
                <c:pt idx="141" formatCode="0.0">
                  <c:v>117.3129</c:v>
                </c:pt>
                <c:pt idx="142" formatCode="0.0">
                  <c:v>117.3086</c:v>
                </c:pt>
                <c:pt idx="143" formatCode="0.0">
                  <c:v>117.30970000000001</c:v>
                </c:pt>
                <c:pt idx="144" formatCode="0.0">
                  <c:v>117.3635</c:v>
                </c:pt>
                <c:pt idx="145" formatCode="0.0">
                  <c:v>117.3266</c:v>
                </c:pt>
                <c:pt idx="146" formatCode="0.0">
                  <c:v>117.31440000000001</c:v>
                </c:pt>
                <c:pt idx="147" formatCode="0.0">
                  <c:v>117.2824</c:v>
                </c:pt>
                <c:pt idx="148" formatCode="0.0">
                  <c:v>117.2831</c:v>
                </c:pt>
                <c:pt idx="149" formatCode="0.0">
                  <c:v>117.2731</c:v>
                </c:pt>
                <c:pt idx="150" formatCode="0.0">
                  <c:v>117.2269</c:v>
                </c:pt>
                <c:pt idx="151" formatCode="0.0">
                  <c:v>117.2139</c:v>
                </c:pt>
                <c:pt idx="152" formatCode="0.0">
                  <c:v>117.2015</c:v>
                </c:pt>
                <c:pt idx="153" formatCode="0.0">
                  <c:v>117.18519999999999</c:v>
                </c:pt>
                <c:pt idx="154" formatCode="0.0">
                  <c:v>117.1934</c:v>
                </c:pt>
                <c:pt idx="155" formatCode="0.0">
                  <c:v>117.17400000000001</c:v>
                </c:pt>
                <c:pt idx="156" formatCode="0.0">
                  <c:v>117.2102</c:v>
                </c:pt>
                <c:pt idx="157" formatCode="0.0">
                  <c:v>117.1795</c:v>
                </c:pt>
                <c:pt idx="158" formatCode="0.0">
                  <c:v>117.19119999999999</c:v>
                </c:pt>
                <c:pt idx="159" formatCode="0.0">
                  <c:v>117.1384</c:v>
                </c:pt>
                <c:pt idx="160" formatCode="0.0">
                  <c:v>117.1161</c:v>
                </c:pt>
                <c:pt idx="161" formatCode="0.0">
                  <c:v>117.1015</c:v>
                </c:pt>
                <c:pt idx="162" formatCode="0.0">
                  <c:v>117.04900000000001</c:v>
                </c:pt>
                <c:pt idx="163" formatCode="0.0">
                  <c:v>117.0553</c:v>
                </c:pt>
                <c:pt idx="164" formatCode="0.0">
                  <c:v>117.084</c:v>
                </c:pt>
                <c:pt idx="165" formatCode="0.0">
                  <c:v>117.0266</c:v>
                </c:pt>
                <c:pt idx="166" formatCode="0.0">
                  <c:v>116.9936</c:v>
                </c:pt>
                <c:pt idx="167" formatCode="0.0">
                  <c:v>116.973</c:v>
                </c:pt>
                <c:pt idx="168" formatCode="0.0">
                  <c:v>117.1216</c:v>
                </c:pt>
                <c:pt idx="169" formatCode="0.0">
                  <c:v>117.1386</c:v>
                </c:pt>
                <c:pt idx="170" formatCode="0.0">
                  <c:v>117.1713</c:v>
                </c:pt>
                <c:pt idx="171" formatCode="0.0">
                  <c:v>117.2029</c:v>
                </c:pt>
                <c:pt idx="172" formatCode="0.0">
                  <c:v>117.22750000000001</c:v>
                </c:pt>
                <c:pt idx="173" formatCode="0.0">
                  <c:v>117.20740000000001</c:v>
                </c:pt>
                <c:pt idx="174" formatCode="0.0">
                  <c:v>117.1756</c:v>
                </c:pt>
                <c:pt idx="175" formatCode="0.0">
                  <c:v>117.1725</c:v>
                </c:pt>
                <c:pt idx="176" formatCode="0.0">
                  <c:v>117.1773</c:v>
                </c:pt>
                <c:pt idx="177" formatCode="0.0">
                  <c:v>117.1952</c:v>
                </c:pt>
                <c:pt idx="178" formatCode="0.0">
                  <c:v>117.249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A01-411D-9431-FEDD78BDF6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542368"/>
        <c:axId val="-104541824"/>
      </c:lineChart>
      <c:catAx>
        <c:axId val="-104543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800">
                <a:latin typeface="Arial Narrow" panose="020B0606020202030204" pitchFamily="34" charset="0"/>
              </a:defRPr>
            </a:pPr>
            <a:endParaRPr lang="en-US"/>
          </a:p>
        </c:txPr>
        <c:crossAx val="-104542912"/>
        <c:crosses val="autoZero"/>
        <c:auto val="1"/>
        <c:lblAlgn val="ctr"/>
        <c:lblOffset val="100"/>
        <c:tickLblSkip val="6"/>
        <c:tickMarkSkip val="6"/>
        <c:noMultiLvlLbl val="0"/>
      </c:catAx>
      <c:valAx>
        <c:axId val="-104542912"/>
        <c:scaling>
          <c:orientation val="minMax"/>
          <c:min val="90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/>
            </a:pPr>
            <a:endParaRPr lang="en-US"/>
          </a:p>
        </c:txPr>
        <c:crossAx val="-104543456"/>
        <c:crosses val="autoZero"/>
        <c:crossBetween val="midCat"/>
        <c:majorUnit val="10"/>
      </c:valAx>
      <c:catAx>
        <c:axId val="-1045423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04541824"/>
        <c:crosses val="autoZero"/>
        <c:auto val="1"/>
        <c:lblAlgn val="ctr"/>
        <c:lblOffset val="100"/>
        <c:noMultiLvlLbl val="0"/>
      </c:catAx>
      <c:valAx>
        <c:axId val="-104541824"/>
        <c:scaling>
          <c:orientation val="minMax"/>
          <c:max val="125"/>
          <c:min val="80"/>
        </c:scaling>
        <c:delete val="0"/>
        <c:axPos val="r"/>
        <c:numFmt formatCode="0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/>
            </a:pPr>
            <a:endParaRPr lang="en-US"/>
          </a:p>
        </c:txPr>
        <c:crossAx val="-104542368"/>
        <c:crosses val="max"/>
        <c:crossBetween val="midCat"/>
        <c:majorUnit val="5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1.1261324189315046E-2"/>
          <c:y val="0.92736077481840196"/>
          <c:w val="0.97747756328846003"/>
          <c:h val="5.8111380145278502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 Narrow" panose="020B0606020202030204" pitchFamily="34" charset="0"/>
          <a:ea typeface="Myriad Pro SemiCond"/>
          <a:cs typeface="Myriad Pro SemiCond"/>
        </a:defRPr>
      </a:pPr>
      <a:endParaRPr lang="en-US"/>
    </a:p>
  </c:tx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587629376516611E-2"/>
          <c:y val="2.9657869168480112E-2"/>
          <c:w val="0.88032230236954645"/>
          <c:h val="0.787742919569608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6-1, T6-2'!$W$1</c:f>
              <c:strCache>
                <c:ptCount val="1"/>
                <c:pt idx="0">
                  <c:v>Fiskalni bilans</c:v>
                </c:pt>
              </c:strCache>
            </c:strRef>
          </c:tx>
          <c:spPr>
            <a:solidFill>
              <a:srgbClr val="4F81BD"/>
            </a:solidFill>
            <a:ln w="25400">
              <a:noFill/>
            </a:ln>
          </c:spPr>
          <c:invertIfNegative val="0"/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4976-7048-B3ED-4DBE882DBEBC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976-7048-B3ED-4DBE882DBEBC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4976-7048-B3ED-4DBE882DBEBC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976-7048-B3ED-4DBE882DBEBC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4976-7048-B3ED-4DBE882DBEBC}"/>
              </c:ext>
            </c:extLst>
          </c:dPt>
          <c:dPt>
            <c:idx val="19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4976-7048-B3ED-4DBE882DBEBC}"/>
              </c:ext>
            </c:extLst>
          </c:dPt>
          <c:dPt>
            <c:idx val="20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4976-7048-B3ED-4DBE882DBEBC}"/>
              </c:ext>
            </c:extLst>
          </c:dPt>
          <c:dPt>
            <c:idx val="21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4976-7048-B3ED-4DBE882DBEBC}"/>
              </c:ext>
            </c:extLst>
          </c:dPt>
          <c:dLbls>
            <c:dLbl>
              <c:idx val="19"/>
              <c:spPr>
                <a:noFill/>
                <a:ln w="2540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8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976-7048-B3ED-4DBE882DBEB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1, T6-2'!$T$8:$T$27</c:f>
              <c:strCache>
                <c:ptCount val="2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  <c:pt idx="18">
                  <c:v>2025</c:v>
                </c:pt>
                <c:pt idx="19">
                  <c:v>Q1 2025</c:v>
                </c:pt>
              </c:strCache>
            </c:strRef>
          </c:cat>
          <c:val>
            <c:numRef>
              <c:f>'T6-1, T6-2'!$W$8:$W$27</c:f>
              <c:numCache>
                <c:formatCode>#,##0.0</c:formatCode>
                <c:ptCount val="20"/>
                <c:pt idx="0">
                  <c:v>-1.7074600316765753</c:v>
                </c:pt>
                <c:pt idx="1">
                  <c:v>-2.2792376446587639</c:v>
                </c:pt>
                <c:pt idx="2">
                  <c:v>-3.8394220901486449</c:v>
                </c:pt>
                <c:pt idx="3">
                  <c:v>-2.4047966616201535</c:v>
                </c:pt>
                <c:pt idx="4">
                  <c:v>-4.3498074718792097</c:v>
                </c:pt>
                <c:pt idx="5">
                  <c:v>-6.1793159854147817</c:v>
                </c:pt>
                <c:pt idx="6">
                  <c:v>-4.9362245498037041</c:v>
                </c:pt>
                <c:pt idx="7">
                  <c:v>-5.9449190631902553</c:v>
                </c:pt>
                <c:pt idx="8">
                  <c:v>-3.3187939299827676</c:v>
                </c:pt>
                <c:pt idx="9">
                  <c:v>-1.1493979623336728</c:v>
                </c:pt>
                <c:pt idx="10">
                  <c:v>1.0557686037655998</c:v>
                </c:pt>
                <c:pt idx="11">
                  <c:v>0.60940162142946264</c:v>
                </c:pt>
                <c:pt idx="12">
                  <c:v>-0.19603223183491281</c:v>
                </c:pt>
                <c:pt idx="13">
                  <c:v>-7.6817158722061833</c:v>
                </c:pt>
                <c:pt idx="14">
                  <c:v>-3.9444886528173058</c:v>
                </c:pt>
                <c:pt idx="15">
                  <c:v>-2.9654480694673708</c:v>
                </c:pt>
                <c:pt idx="16">
                  <c:v>-2.2218851799115527</c:v>
                </c:pt>
                <c:pt idx="17">
                  <c:v>-1.9681420400259597</c:v>
                </c:pt>
                <c:pt idx="18">
                  <c:v>-2.4327380626956554</c:v>
                </c:pt>
                <c:pt idx="19">
                  <c:v>-4.40264078055043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4976-7048-B3ED-4DBE882DBEBC}"/>
            </c:ext>
          </c:extLst>
        </c:ser>
        <c:ser>
          <c:idx val="1"/>
          <c:order val="1"/>
          <c:tx>
            <c:strRef>
              <c:f>'T6-1, T6-2'!$X$1</c:f>
              <c:strCache>
                <c:ptCount val="1"/>
                <c:pt idx="0">
                  <c:v>Primarni bilans</c:v>
                </c:pt>
              </c:strCache>
            </c:strRef>
          </c:tx>
          <c:spPr>
            <a:blipFill dpi="0" rotWithShape="0">
              <a:blip xmlns:r="http://schemas.openxmlformats.org/officeDocument/2006/relationships" r:embed="rId1"/>
              <a:srcRect/>
              <a:tile tx="0" ty="0" sx="100000" sy="100000" flip="none" algn="tl"/>
            </a:blipFill>
            <a:ln w="25400">
              <a:noFill/>
            </a:ln>
          </c:spPr>
          <c:invertIfNegative val="0"/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4976-7048-B3ED-4DBE882DBEBC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4976-7048-B3ED-4DBE882DBEBC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E-4976-7048-B3ED-4DBE882DBEBC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F-4976-7048-B3ED-4DBE882DBEBC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0-4976-7048-B3ED-4DBE882DBEBC}"/>
              </c:ext>
            </c:extLst>
          </c:dPt>
          <c:dPt>
            <c:idx val="19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4976-7048-B3ED-4DBE882DBEBC}"/>
              </c:ext>
            </c:extLst>
          </c:dPt>
          <c:dPt>
            <c:idx val="20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4976-7048-B3ED-4DBE882DBEBC}"/>
              </c:ext>
            </c:extLst>
          </c:dPt>
          <c:dPt>
            <c:idx val="21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4976-7048-B3ED-4DBE882DBEBC}"/>
              </c:ext>
            </c:extLst>
          </c:dPt>
          <c:dLbls>
            <c:dLbl>
              <c:idx val="19"/>
              <c:layout>
                <c:manualLayout>
                  <c:x val="9.0548953027730621E-3"/>
                  <c:y val="3.7932675176529508E-3"/>
                </c:manualLayout>
              </c:layout>
              <c:spPr>
                <a:noFill/>
                <a:ln w="2540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800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4976-7048-B3ED-4DBE882DBEB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1, T6-2'!$T$8:$T$27</c:f>
              <c:strCache>
                <c:ptCount val="2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  <c:pt idx="18">
                  <c:v>2025</c:v>
                </c:pt>
                <c:pt idx="19">
                  <c:v>Q1 2025</c:v>
                </c:pt>
              </c:strCache>
            </c:strRef>
          </c:cat>
          <c:val>
            <c:numRef>
              <c:f>'T6-1, T6-2'!$X$8:$X$27</c:f>
              <c:numCache>
                <c:formatCode>#,##0.0</c:formatCode>
                <c:ptCount val="20"/>
                <c:pt idx="0">
                  <c:v>-1.034387802198476</c:v>
                </c:pt>
                <c:pt idx="1">
                  <c:v>-1.8440311708205699</c:v>
                </c:pt>
                <c:pt idx="2">
                  <c:v>-3.3012431839202105</c:v>
                </c:pt>
                <c:pt idx="3">
                  <c:v>-3.1566473098884904</c:v>
                </c:pt>
                <c:pt idx="4">
                  <c:v>-3.1576456246320275</c:v>
                </c:pt>
                <c:pt idx="5">
                  <c:v>-4.4603730320883219</c:v>
                </c:pt>
                <c:pt idx="6">
                  <c:v>-2.7361005675126271</c:v>
                </c:pt>
                <c:pt idx="7">
                  <c:v>-3.2924062057401886</c:v>
                </c:pt>
                <c:pt idx="8">
                  <c:v>-0.42875403686250446</c:v>
                </c:pt>
                <c:pt idx="9">
                  <c:v>1.6513923095730305</c:v>
                </c:pt>
                <c:pt idx="10">
                  <c:v>3.5026970107001674</c:v>
                </c:pt>
                <c:pt idx="11">
                  <c:v>2.6637253656658832</c:v>
                </c:pt>
                <c:pt idx="12">
                  <c:v>1.7255040111165114</c:v>
                </c:pt>
                <c:pt idx="13">
                  <c:v>-5.7690446311666328</c:v>
                </c:pt>
                <c:pt idx="14">
                  <c:v>-2.2907626017735399</c:v>
                </c:pt>
                <c:pt idx="15">
                  <c:v>-1.5281766176359388</c:v>
                </c:pt>
                <c:pt idx="16">
                  <c:v>-0.39034901794670351</c:v>
                </c:pt>
                <c:pt idx="17">
                  <c:v>-0.11695235240464204</c:v>
                </c:pt>
                <c:pt idx="18">
                  <c:v>-0.61446781886572488</c:v>
                </c:pt>
                <c:pt idx="19">
                  <c:v>-2.5325877194742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4976-7048-B3ED-4DBE882DBE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04539104"/>
        <c:axId val="-104537472"/>
      </c:barChart>
      <c:catAx>
        <c:axId val="-10453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7472"/>
        <c:crosses val="autoZero"/>
        <c:auto val="1"/>
        <c:lblAlgn val="ctr"/>
        <c:lblOffset val="100"/>
        <c:noMultiLvlLbl val="0"/>
      </c:catAx>
      <c:valAx>
        <c:axId val="-104537472"/>
        <c:scaling>
          <c:orientation val="minMax"/>
          <c:max val="4"/>
          <c:min val="-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910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5772817312930218"/>
          <c:y val="0.75533968660465245"/>
          <c:w val="0.42631505967414446"/>
          <c:h val="4.0541885063896062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735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noProof="0" dirty="0"/>
              <a:t>Rast BDP u prvom kvartalu 2026., u % </a:t>
            </a:r>
            <a:r>
              <a:rPr lang="sr-Latn-RS" noProof="0" dirty="0" err="1"/>
              <a:t>međugod</a:t>
            </a:r>
            <a:r>
              <a:rPr lang="sr-Latn-RS" noProof="0" dirty="0"/>
              <a:t>.</a:t>
            </a:r>
          </a:p>
        </c:rich>
      </c:tx>
      <c:layout>
        <c:manualLayout>
          <c:xMode val="edge"/>
          <c:yMode val="edge"/>
          <c:x val="0.22161111111111112"/>
          <c:y val="1.70005494587089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ED-AB4B-9EC9-5BACB49F0763}"/>
              </c:ext>
            </c:extLst>
          </c:dPt>
          <c:cat>
            <c:strRef>
              <c:f>'Tabela T2-4'!$O$5:$O$20</c:f>
              <c:strCache>
                <c:ptCount val="16"/>
                <c:pt idx="0">
                  <c:v>Poljska</c:v>
                </c:pt>
                <c:pt idx="1">
                  <c:v>Srbija</c:v>
                </c:pt>
                <c:pt idx="2">
                  <c:v>S Makedonija</c:v>
                </c:pt>
                <c:pt idx="3">
                  <c:v>Slovenija</c:v>
                </c:pt>
                <c:pt idx="4">
                  <c:v>Bugarska</c:v>
                </c:pt>
                <c:pt idx="5">
                  <c:v>Letonija</c:v>
                </c:pt>
                <c:pt idx="6">
                  <c:v>Estonija</c:v>
                </c:pt>
                <c:pt idx="7">
                  <c:v>Litvanija</c:v>
                </c:pt>
                <c:pt idx="8">
                  <c:v>Češka</c:v>
                </c:pt>
                <c:pt idx="9">
                  <c:v>Hrvatska</c:v>
                </c:pt>
                <c:pt idx="10">
                  <c:v>CIE</c:v>
                </c:pt>
                <c:pt idx="11">
                  <c:v>Mađarska</c:v>
                </c:pt>
                <c:pt idx="12">
                  <c:v>Crna Gora</c:v>
                </c:pt>
                <c:pt idx="13">
                  <c:v>Slovačka</c:v>
                </c:pt>
                <c:pt idx="14">
                  <c:v>EU27</c:v>
                </c:pt>
                <c:pt idx="15">
                  <c:v>Rumunija</c:v>
                </c:pt>
              </c:strCache>
            </c:strRef>
          </c:cat>
          <c:val>
            <c:numRef>
              <c:f>'Tabela T2-4'!$P$5:$P$20</c:f>
              <c:numCache>
                <c:formatCode>0.0</c:formatCode>
                <c:ptCount val="16"/>
                <c:pt idx="0">
                  <c:v>3.3</c:v>
                </c:pt>
                <c:pt idx="1">
                  <c:v>3.2</c:v>
                </c:pt>
                <c:pt idx="2">
                  <c:v>3.1</c:v>
                </c:pt>
                <c:pt idx="3">
                  <c:v>3</c:v>
                </c:pt>
                <c:pt idx="4">
                  <c:v>2.9</c:v>
                </c:pt>
                <c:pt idx="5">
                  <c:v>2.5</c:v>
                </c:pt>
                <c:pt idx="6">
                  <c:v>2.4</c:v>
                </c:pt>
                <c:pt idx="7">
                  <c:v>2.2999999999999998</c:v>
                </c:pt>
                <c:pt idx="8">
                  <c:v>2.2000000000000002</c:v>
                </c:pt>
                <c:pt idx="9">
                  <c:v>2.2000000000000002</c:v>
                </c:pt>
                <c:pt idx="10">
                  <c:v>1.8760794531292131</c:v>
                </c:pt>
                <c:pt idx="11">
                  <c:v>1.7</c:v>
                </c:pt>
                <c:pt idx="12">
                  <c:v>1.5</c:v>
                </c:pt>
                <c:pt idx="13">
                  <c:v>0.9</c:v>
                </c:pt>
                <c:pt idx="14">
                  <c:v>0.6</c:v>
                </c:pt>
                <c:pt idx="15">
                  <c:v>-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1ED-AB4B-9EC9-5BACB49F07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191920"/>
        <c:axId val="-188197360"/>
      </c:barChart>
      <c:catAx>
        <c:axId val="-18819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7360"/>
        <c:crosses val="autoZero"/>
        <c:auto val="1"/>
        <c:lblAlgn val="ctr"/>
        <c:lblOffset val="100"/>
        <c:noMultiLvlLbl val="0"/>
      </c:catAx>
      <c:valAx>
        <c:axId val="-188197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1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338235294117641E-2"/>
          <c:y val="8.3946063559401707E-2"/>
          <c:w val="0.89522058823529416"/>
          <c:h val="0.69035977568074336"/>
        </c:manualLayout>
      </c:layout>
      <c:lineChart>
        <c:grouping val="standard"/>
        <c:varyColors val="0"/>
        <c:ser>
          <c:idx val="0"/>
          <c:order val="0"/>
          <c:tx>
            <c:strRef>
              <c:f>'T6-1, T6-2'!$AA$1</c:f>
              <c:strCache>
                <c:ptCount val="1"/>
                <c:pt idx="0">
                  <c:v>Javni prihodi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'T6-1, T6-2'!$Z$6:$Z$27</c:f>
              <c:strCache>
                <c:ptCount val="2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Q1 2025</c:v>
                </c:pt>
              </c:strCache>
            </c:strRef>
          </c:cat>
          <c:val>
            <c:numRef>
              <c:f>'T6-1, T6-2'!$AA$6:$AA$27</c:f>
              <c:numCache>
                <c:formatCode>_(* #,##0.0_);_(* \(#,##0.0\);_(* "-"??_);_(@_)</c:formatCode>
                <c:ptCount val="22"/>
                <c:pt idx="0">
                  <c:v>38.328946582296901</c:v>
                </c:pt>
                <c:pt idx="1">
                  <c:v>38.808096180349025</c:v>
                </c:pt>
                <c:pt idx="2">
                  <c:v>38.189767947062776</c:v>
                </c:pt>
                <c:pt idx="3">
                  <c:v>37.926911088068543</c:v>
                </c:pt>
                <c:pt idx="4">
                  <c:v>36.129679592010056</c:v>
                </c:pt>
                <c:pt idx="5">
                  <c:v>37.778196508274121</c:v>
                </c:pt>
                <c:pt idx="6">
                  <c:v>36.255715316033289</c:v>
                </c:pt>
                <c:pt idx="7">
                  <c:v>37.100842404636936</c:v>
                </c:pt>
                <c:pt idx="8">
                  <c:v>35.795853754905984</c:v>
                </c:pt>
                <c:pt idx="9">
                  <c:v>37.327603033872172</c:v>
                </c:pt>
                <c:pt idx="10">
                  <c:v>37.716302692442575</c:v>
                </c:pt>
                <c:pt idx="11">
                  <c:v>39.215683026040146</c:v>
                </c:pt>
                <c:pt idx="12">
                  <c:v>39.834693413402888</c:v>
                </c:pt>
                <c:pt idx="13">
                  <c:v>39.812204025067885</c:v>
                </c:pt>
                <c:pt idx="14">
                  <c:v>40.191636114111837</c:v>
                </c:pt>
                <c:pt idx="15">
                  <c:v>39.120428288266645</c:v>
                </c:pt>
                <c:pt idx="16">
                  <c:v>41.239660362345553</c:v>
                </c:pt>
                <c:pt idx="17">
                  <c:v>41.230327179510709</c:v>
                </c:pt>
                <c:pt idx="18">
                  <c:v>42.614948270545206</c:v>
                </c:pt>
                <c:pt idx="19">
                  <c:v>40.427356824948134</c:v>
                </c:pt>
                <c:pt idx="20">
                  <c:v>40.927002736771371</c:v>
                </c:pt>
                <c:pt idx="21">
                  <c:v>40.78431387389778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95B-5043-9C14-6A2BEB676035}"/>
            </c:ext>
          </c:extLst>
        </c:ser>
        <c:ser>
          <c:idx val="1"/>
          <c:order val="1"/>
          <c:tx>
            <c:strRef>
              <c:f>'T6-1, T6-2'!$AB$1</c:f>
              <c:strCache>
                <c:ptCount val="1"/>
                <c:pt idx="0">
                  <c:v>Javni rashodi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T6-1, T6-2'!$Z$6:$Z$27</c:f>
              <c:strCache>
                <c:ptCount val="2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Q1 2025</c:v>
                </c:pt>
              </c:strCache>
            </c:strRef>
          </c:cat>
          <c:val>
            <c:numRef>
              <c:f>'T6-1, T6-2'!$AB$6:$AB$27</c:f>
              <c:numCache>
                <c:formatCode>_(* #,##0.0_);_(* \(#,##0.0\);_(* "-"??_);_(@_)</c:formatCode>
                <c:ptCount val="22"/>
                <c:pt idx="0">
                  <c:v>37.393510556917342</c:v>
                </c:pt>
                <c:pt idx="1">
                  <c:v>40.221712225227328</c:v>
                </c:pt>
                <c:pt idx="2">
                  <c:v>39.897227978739352</c:v>
                </c:pt>
                <c:pt idx="3">
                  <c:v>40.206148732727307</c:v>
                </c:pt>
                <c:pt idx="4">
                  <c:v>39.969101682158701</c:v>
                </c:pt>
                <c:pt idx="5">
                  <c:v>40.182993169894274</c:v>
                </c:pt>
                <c:pt idx="6">
                  <c:v>40.605522787912498</c:v>
                </c:pt>
                <c:pt idx="7">
                  <c:v>43.280158390051717</c:v>
                </c:pt>
                <c:pt idx="8">
                  <c:v>40.732078304709688</c:v>
                </c:pt>
                <c:pt idx="9">
                  <c:v>43.272522097062428</c:v>
                </c:pt>
                <c:pt idx="10">
                  <c:v>41.035096622425343</c:v>
                </c:pt>
                <c:pt idx="11">
                  <c:v>40.365080988373819</c:v>
                </c:pt>
                <c:pt idx="12">
                  <c:v>38.778924809637289</c:v>
                </c:pt>
                <c:pt idx="13">
                  <c:v>39.202802403638422</c:v>
                </c:pt>
                <c:pt idx="14">
                  <c:v>40.38766834594675</c:v>
                </c:pt>
                <c:pt idx="15">
                  <c:v>46.802144160472828</c:v>
                </c:pt>
                <c:pt idx="16">
                  <c:v>45.184149015162859</c:v>
                </c:pt>
                <c:pt idx="17">
                  <c:v>44.19577524897808</c:v>
                </c:pt>
                <c:pt idx="18">
                  <c:v>44.836833450456758</c:v>
                </c:pt>
                <c:pt idx="19">
                  <c:v>42.395498864974094</c:v>
                </c:pt>
                <c:pt idx="20">
                  <c:v>43.359740799467026</c:v>
                </c:pt>
                <c:pt idx="21">
                  <c:v>45.18695465444822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95B-5043-9C14-6A2BEB676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04538016"/>
        <c:axId val="-104532032"/>
      </c:lineChart>
      <c:catAx>
        <c:axId val="-104538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2032"/>
        <c:crosses val="autoZero"/>
        <c:auto val="1"/>
        <c:lblAlgn val="ctr"/>
        <c:lblOffset val="100"/>
        <c:tickLblSkip val="1"/>
        <c:noMultiLvlLbl val="0"/>
      </c:catAx>
      <c:valAx>
        <c:axId val="-104532032"/>
        <c:scaling>
          <c:orientation val="minMax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801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5501169311822222"/>
          <c:y val="0.8629322976988314"/>
          <c:w val="0.72430242448160476"/>
          <c:h val="0.11021876699580091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735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9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352801439918215E-2"/>
          <c:y val="4.4637694244312666E-2"/>
          <c:w val="0.87721194685709769"/>
          <c:h val="0.719364067839069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6-3, T6-4'!$B$3</c:f>
              <c:strCache>
                <c:ptCount val="1"/>
                <c:pt idx="0">
                  <c:v>Q1 2026</c:v>
                </c:pt>
              </c:strCache>
            </c:strRef>
          </c:tx>
          <c:spPr>
            <a:blipFill dpi="0" rotWithShape="0">
              <a:blip xmlns:r="http://schemas.openxmlformats.org/officeDocument/2006/relationships" r:embed="rId1"/>
              <a:srcRect/>
              <a:tile tx="0" ty="0" sx="100000" sy="100000" flip="none" algn="tl"/>
            </a:blipFill>
            <a:ln w="25400"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83DA-1647-95DF-93EAD5FA42F6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83DA-1647-95DF-93EAD5FA42F6}"/>
              </c:ext>
            </c:extLst>
          </c:dPt>
          <c:dPt>
            <c:idx val="2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3DA-1647-95DF-93EAD5FA42F6}"/>
              </c:ext>
            </c:extLst>
          </c:dPt>
          <c:dPt>
            <c:idx val="3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3DA-1647-95DF-93EAD5FA42F6}"/>
              </c:ext>
            </c:extLst>
          </c:dPt>
          <c:dPt>
            <c:idx val="4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3DA-1647-95DF-93EAD5FA42F6}"/>
              </c:ext>
            </c:extLst>
          </c:dPt>
          <c:dPt>
            <c:idx val="5"/>
            <c:invertIfNegative val="0"/>
            <c:bubble3D val="0"/>
            <c:spPr>
              <a:blipFill dpi="0" rotWithShape="0">
                <a:blip xmlns:r="http://schemas.openxmlformats.org/officeDocument/2006/relationships" r:embed="rId3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3DA-1647-95DF-93EAD5FA42F6}"/>
              </c:ext>
            </c:extLst>
          </c:dPt>
          <c:dPt>
            <c:idx val="6"/>
            <c:invertIfNegative val="0"/>
            <c:bubble3D val="0"/>
            <c:spPr>
              <a:blipFill dpi="0" rotWithShape="0">
                <a:blip xmlns:r="http://schemas.openxmlformats.org/officeDocument/2006/relationships" r:embed="rId3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3DA-1647-95DF-93EAD5FA42F6}"/>
              </c:ext>
            </c:extLst>
          </c:dPt>
          <c:dPt>
            <c:idx val="7"/>
            <c:invertIfNegative val="0"/>
            <c:bubble3D val="0"/>
            <c:spPr>
              <a:blipFill dpi="0" rotWithShape="0">
                <a:blip xmlns:r="http://schemas.openxmlformats.org/officeDocument/2006/relationships" r:embed="rId3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3DA-1647-95DF-93EAD5FA42F6}"/>
              </c:ext>
            </c:extLst>
          </c:dPt>
          <c:dPt>
            <c:idx val="8"/>
            <c:invertIfNegative val="0"/>
            <c:bubble3D val="0"/>
            <c:spPr>
              <a:blipFill dpi="0" rotWithShape="0">
                <a:blip xmlns:r="http://schemas.openxmlformats.org/officeDocument/2006/relationships" r:embed="rId4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83DA-1647-95DF-93EAD5FA42F6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3, T6-4'!$A$4:$A$11</c:f>
              <c:strCache>
                <c:ptCount val="8"/>
                <c:pt idx="0">
                  <c:v>Javni prihodi</c:v>
                </c:pt>
                <c:pt idx="1">
                  <c:v>Poreski prihodi</c:v>
                </c:pt>
                <c:pt idx="2">
                  <c:v>Porez na dohodak</c:v>
                </c:pt>
                <c:pt idx="3">
                  <c:v>Doprinosi</c:v>
                </c:pt>
                <c:pt idx="4">
                  <c:v>Porez na dobit</c:v>
                </c:pt>
                <c:pt idx="5">
                  <c:v>Akcize</c:v>
                </c:pt>
                <c:pt idx="6">
                  <c:v>PDV</c:v>
                </c:pt>
                <c:pt idx="7">
                  <c:v>Carine</c:v>
                </c:pt>
              </c:strCache>
            </c:strRef>
          </c:cat>
          <c:val>
            <c:numRef>
              <c:f>'T6-3, T6-4'!$B$4:$B$11</c:f>
              <c:numCache>
                <c:formatCode>0.0</c:formatCode>
                <c:ptCount val="8"/>
                <c:pt idx="0">
                  <c:v>10.6</c:v>
                </c:pt>
                <c:pt idx="1">
                  <c:v>9.3000000000000007</c:v>
                </c:pt>
                <c:pt idx="2">
                  <c:v>6.6</c:v>
                </c:pt>
                <c:pt idx="3">
                  <c:v>14.1</c:v>
                </c:pt>
                <c:pt idx="4">
                  <c:v>29</c:v>
                </c:pt>
                <c:pt idx="5">
                  <c:v>-1.4</c:v>
                </c:pt>
                <c:pt idx="6">
                  <c:v>5.8</c:v>
                </c:pt>
                <c:pt idx="7">
                  <c:v>-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83DA-1647-95DF-93EAD5FA42F6}"/>
            </c:ext>
          </c:extLst>
        </c:ser>
        <c:ser>
          <c:idx val="1"/>
          <c:order val="1"/>
          <c:tx>
            <c:strRef>
              <c:f>'T6-3, T6-4'!$C$3</c:f>
              <c:strCache>
                <c:ptCount val="1"/>
                <c:pt idx="0">
                  <c:v>Plan 2026</c:v>
                </c:pt>
              </c:strCache>
            </c:strRef>
          </c:tx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83DA-1647-95DF-93EAD5FA42F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83DA-1647-95DF-93EAD5FA42F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83DA-1647-95DF-93EAD5FA42F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83DA-1647-95DF-93EAD5FA42F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83DA-1647-95DF-93EAD5FA42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83DA-1647-95DF-93EAD5FA42F6}"/>
              </c:ext>
            </c:extLst>
          </c:dPt>
          <c:dPt>
            <c:idx val="8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E-83DA-1647-95DF-93EAD5FA42F6}"/>
              </c:ext>
            </c:extLst>
          </c:dPt>
          <c:dLbls>
            <c:dLbl>
              <c:idx val="2"/>
              <c:layout>
                <c:manualLayout>
                  <c:x val="9.9875156054930886E-3"/>
                  <c:y val="-3.7491046109506729E-17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0" i="0" u="none" strike="noStrike" baseline="0">
                      <a:solidFill>
                        <a:srgbClr val="969696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83DA-1647-95DF-93EAD5FA42F6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6.8082788671023969E-3"/>
                  <c:y val="8.2280158107478248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0" i="0" u="none" strike="noStrike" baseline="0">
                      <a:solidFill>
                        <a:srgbClr val="969696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83DA-1647-95DF-93EAD5FA42F6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4.3644298963447896E-3"/>
                  <c:y val="0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0" i="0" u="none" strike="noStrike" baseline="0">
                      <a:solidFill>
                        <a:srgbClr val="969696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83DA-1647-95DF-93EAD5FA42F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0" i="0" u="none" strike="noStrike" baseline="0">
                    <a:solidFill>
                      <a:srgbClr val="969696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3, T6-4'!$A$4:$A$11</c:f>
              <c:strCache>
                <c:ptCount val="8"/>
                <c:pt idx="0">
                  <c:v>Javni prihodi</c:v>
                </c:pt>
                <c:pt idx="1">
                  <c:v>Poreski prihodi</c:v>
                </c:pt>
                <c:pt idx="2">
                  <c:v>Porez na dohodak</c:v>
                </c:pt>
                <c:pt idx="3">
                  <c:v>Doprinosi</c:v>
                </c:pt>
                <c:pt idx="4">
                  <c:v>Porez na dobit</c:v>
                </c:pt>
                <c:pt idx="5">
                  <c:v>Akcize</c:v>
                </c:pt>
                <c:pt idx="6">
                  <c:v>PDV</c:v>
                </c:pt>
                <c:pt idx="7">
                  <c:v>Carine</c:v>
                </c:pt>
              </c:strCache>
            </c:strRef>
          </c:cat>
          <c:val>
            <c:numRef>
              <c:f>'T6-3, T6-4'!$C$4:$C$11</c:f>
              <c:numCache>
                <c:formatCode>0.0</c:formatCode>
                <c:ptCount val="8"/>
                <c:pt idx="0">
                  <c:v>2.5257900099175723</c:v>
                </c:pt>
                <c:pt idx="1">
                  <c:v>3.5087378098380917</c:v>
                </c:pt>
                <c:pt idx="2">
                  <c:v>3.7946735496442452</c:v>
                </c:pt>
                <c:pt idx="3">
                  <c:v>5.3673201185782782</c:v>
                </c:pt>
                <c:pt idx="4">
                  <c:v>3.7946735496442674</c:v>
                </c:pt>
                <c:pt idx="5">
                  <c:v>1.2630961459944023</c:v>
                </c:pt>
                <c:pt idx="6">
                  <c:v>3.7946735496442452</c:v>
                </c:pt>
                <c:pt idx="7">
                  <c:v>3.79467354964426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F-83DA-1647-95DF-93EAD5FA42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04533120"/>
        <c:axId val="-104536928"/>
      </c:barChart>
      <c:catAx>
        <c:axId val="-104533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-104536928"/>
        <c:crosses val="autoZero"/>
        <c:auto val="1"/>
        <c:lblAlgn val="ctr"/>
        <c:lblOffset val="100"/>
        <c:noMultiLvlLbl val="0"/>
      </c:catAx>
      <c:valAx>
        <c:axId val="-104536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-104533120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5292675679690985"/>
          <c:y val="0.88891704171451391"/>
          <c:w val="0.49350245134452531"/>
          <c:h val="8.6170529553957972E-2"/>
        </c:manualLayout>
      </c:layout>
      <c:overlay val="0"/>
      <c:txPr>
        <a:bodyPr/>
        <a:lstStyle/>
        <a:p>
          <a:pPr>
            <a:defRPr sz="845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5">
    <c:autoUpdate val="0"/>
  </c:externalData>
  <c:userShapes r:id="rId6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808613388365871E-2"/>
          <c:y val="4.8611120776887132E-2"/>
          <c:w val="0.89283839622340644"/>
          <c:h val="0.778347903910742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6-3, T6-4'!$B$14</c:f>
              <c:strCache>
                <c:ptCount val="1"/>
                <c:pt idx="0">
                  <c:v>Q1 2026</c:v>
                </c:pt>
              </c:strCache>
            </c:strRef>
          </c:tx>
          <c:spPr>
            <a:blipFill dpi="0" rotWithShape="0">
              <a:blip xmlns:r="http://schemas.openxmlformats.org/officeDocument/2006/relationships" r:embed="rId1"/>
              <a:srcRect/>
              <a:tile tx="0" ty="0" sx="100000" sy="100000" flip="none" algn="tl"/>
            </a:blipFill>
            <a:ln w="25400">
              <a:noFill/>
            </a:ln>
          </c:spPr>
          <c:invertIfNegative val="0"/>
          <c:dPt>
            <c:idx val="0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195-5D4E-9F26-6C9D9AB5B25C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chemeClr val="accent3"/>
                </a:fgClr>
                <a:bgClr>
                  <a:schemeClr val="bg1"/>
                </a:bgClr>
              </a:patt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195-5D4E-9F26-6C9D9AB5B25C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195-5D4E-9F26-6C9D9AB5B25C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0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3, T6-4'!$A$15:$A$21</c:f>
              <c:strCache>
                <c:ptCount val="7"/>
                <c:pt idx="0">
                  <c:v>Javni rashodi</c:v>
                </c:pt>
                <c:pt idx="1">
                  <c:v>Plate</c:v>
                </c:pt>
                <c:pt idx="2">
                  <c:v>Roba i usluge</c:v>
                </c:pt>
                <c:pt idx="3">
                  <c:v>Kamata</c:v>
                </c:pt>
                <c:pt idx="4">
                  <c:v>Subvencije </c:v>
                </c:pt>
                <c:pt idx="5">
                  <c:v>Penzije</c:v>
                </c:pt>
                <c:pt idx="6">
                  <c:v>Kapitalni rashodi</c:v>
                </c:pt>
              </c:strCache>
            </c:strRef>
          </c:cat>
          <c:val>
            <c:numRef>
              <c:f>'T6-3, T6-4'!$B$15:$B$21</c:f>
              <c:numCache>
                <c:formatCode>0.0</c:formatCode>
                <c:ptCount val="7"/>
                <c:pt idx="0">
                  <c:v>14.3</c:v>
                </c:pt>
                <c:pt idx="1">
                  <c:v>12.9</c:v>
                </c:pt>
                <c:pt idx="2">
                  <c:v>15.7</c:v>
                </c:pt>
                <c:pt idx="3">
                  <c:v>-17</c:v>
                </c:pt>
                <c:pt idx="4">
                  <c:v>10</c:v>
                </c:pt>
                <c:pt idx="5">
                  <c:v>10</c:v>
                </c:pt>
                <c:pt idx="6">
                  <c:v>64.4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195-5D4E-9F26-6C9D9AB5B25C}"/>
            </c:ext>
          </c:extLst>
        </c:ser>
        <c:ser>
          <c:idx val="1"/>
          <c:order val="1"/>
          <c:tx>
            <c:strRef>
              <c:f>'T6-3, T6-4'!$C$14</c:f>
              <c:strCache>
                <c:ptCount val="1"/>
                <c:pt idx="0">
                  <c:v>Plan 2026</c:v>
                </c:pt>
              </c:strCache>
            </c:strRef>
          </c:tx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195-5D4E-9F26-6C9D9AB5B25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9195-5D4E-9F26-6C9D9AB5B25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9195-5D4E-9F26-6C9D9AB5B25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9195-5D4E-9F26-6C9D9AB5B25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9195-5D4E-9F26-6C9D9AB5B25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9195-5D4E-9F26-6C9D9AB5B25C}"/>
              </c:ext>
            </c:extLst>
          </c:dPt>
          <c:dLbls>
            <c:dLbl>
              <c:idx val="1"/>
              <c:layout>
                <c:manualLayout>
                  <c:x val="1.2507817385866121E-2"/>
                  <c:y val="0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0" i="0" u="none" strike="noStrike" baseline="0">
                      <a:solidFill>
                        <a:srgbClr val="969696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9195-5D4E-9F26-6C9D9AB5B25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0" i="0" u="none" strike="noStrike" baseline="0">
                    <a:solidFill>
                      <a:srgbClr val="969696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3, T6-4'!$A$15:$A$21</c:f>
              <c:strCache>
                <c:ptCount val="7"/>
                <c:pt idx="0">
                  <c:v>Javni rashodi</c:v>
                </c:pt>
                <c:pt idx="1">
                  <c:v>Plate</c:v>
                </c:pt>
                <c:pt idx="2">
                  <c:v>Roba i usluge</c:v>
                </c:pt>
                <c:pt idx="3">
                  <c:v>Kamata</c:v>
                </c:pt>
                <c:pt idx="4">
                  <c:v>Subvencije </c:v>
                </c:pt>
                <c:pt idx="5">
                  <c:v>Penzije</c:v>
                </c:pt>
                <c:pt idx="6">
                  <c:v>Kapitalni rashodi</c:v>
                </c:pt>
              </c:strCache>
            </c:strRef>
          </c:cat>
          <c:val>
            <c:numRef>
              <c:f>'T6-3, T6-4'!$C$15:$C$21</c:f>
              <c:numCache>
                <c:formatCode>0.0</c:formatCode>
                <c:ptCount val="7"/>
                <c:pt idx="0">
                  <c:v>2.612501869124384</c:v>
                </c:pt>
                <c:pt idx="1">
                  <c:v>4.843104595600245</c:v>
                </c:pt>
                <c:pt idx="2">
                  <c:v>2.4289541608331522</c:v>
                </c:pt>
                <c:pt idx="3">
                  <c:v>-0.92326615715777605</c:v>
                </c:pt>
                <c:pt idx="4">
                  <c:v>-0.7181383438185196</c:v>
                </c:pt>
                <c:pt idx="5">
                  <c:v>4.8223435847892571</c:v>
                </c:pt>
                <c:pt idx="6">
                  <c:v>0.911488173265251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9195-5D4E-9F26-6C9D9AB5B2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04530944"/>
        <c:axId val="-104540736"/>
      </c:barChart>
      <c:catAx>
        <c:axId val="-104530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40736"/>
        <c:crosses val="autoZero"/>
        <c:auto val="1"/>
        <c:lblAlgn val="ctr"/>
        <c:lblOffset val="100"/>
        <c:noMultiLvlLbl val="0"/>
      </c:catAx>
      <c:valAx>
        <c:axId val="-104540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094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30105677092621763"/>
          <c:y val="0.89425866119488329"/>
          <c:w val="0.43195101915500789"/>
          <c:h val="9.3752924157528103E-2"/>
        </c:manualLayout>
      </c:layout>
      <c:overlay val="0"/>
      <c:txPr>
        <a:bodyPr/>
        <a:lstStyle/>
        <a:p>
          <a:pPr>
            <a:defRPr sz="775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3">
    <c:autoUpdate val="0"/>
  </c:externalData>
  <c:userShapes r:id="rId4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199155626249354"/>
          <c:y val="6.1422293804183577E-2"/>
          <c:w val="0.80426039906868618"/>
          <c:h val="0.75756316445292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6-5, T6-6'!$A$23</c:f>
              <c:strCache>
                <c:ptCount val="1"/>
                <c:pt idx="0">
                  <c:v>Javni dug (% BDP)</c:v>
                </c:pt>
              </c:strCache>
            </c:strRef>
          </c:tx>
          <c:spPr>
            <a:solidFill>
              <a:srgbClr val="4F81BD"/>
            </a:solidFill>
            <a:ln w="25400">
              <a:noFill/>
            </a:ln>
          </c:spPr>
          <c:invertIfNegative val="0"/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017F-9541-B0CE-BC13CAE35EB0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017F-9541-B0CE-BC13CAE35EB0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017F-9541-B0CE-BC13CAE35EB0}"/>
              </c:ext>
            </c:extLst>
          </c:dPt>
          <c:dPt>
            <c:idx val="15"/>
            <c:invertIfNegative val="0"/>
            <c:bubble3D val="0"/>
            <c:spPr>
              <a:blipFill dpi="0" rotWithShape="0">
                <a:blip xmlns:r="http://schemas.openxmlformats.org/officeDocument/2006/relationships" r:embed="rId1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017F-9541-B0CE-BC13CAE35EB0}"/>
              </c:ext>
            </c:extLst>
          </c:dPt>
          <c:dPt>
            <c:idx val="16"/>
            <c:invertIfNegative val="0"/>
            <c:bubble3D val="0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254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017F-9541-B0CE-BC13CAE35EB0}"/>
              </c:ext>
            </c:extLst>
          </c:dPt>
          <c:dLbls>
            <c:dLbl>
              <c:idx val="15"/>
              <c:spPr>
                <a:noFill/>
                <a:ln w="2540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017F-9541-B0CE-BC13CAE35EB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5, T6-6'!$J$22:$AK$22</c:f>
              <c:strCache>
                <c:ptCount val="16"/>
                <c:pt idx="0">
                  <c:v>2008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Q1 2026</c:v>
                </c:pt>
              </c:strCache>
            </c:strRef>
          </c:cat>
          <c:val>
            <c:numRef>
              <c:f>'T6-5, T6-6'!$J$23:$AK$23</c:f>
              <c:numCache>
                <c:formatCode>_(* #,##0.0_);_(* \(#,##0.0\);_(* "-"??_);_(@_)</c:formatCode>
                <c:ptCount val="16"/>
                <c:pt idx="0">
                  <c:v>28.346425138364246</c:v>
                </c:pt>
                <c:pt idx="1">
                  <c:v>56.091941673816478</c:v>
                </c:pt>
                <c:pt idx="2">
                  <c:v>53.599060716370019</c:v>
                </c:pt>
                <c:pt idx="3">
                  <c:v>63.396296131818922</c:v>
                </c:pt>
                <c:pt idx="4">
                  <c:v>67.127218729018225</c:v>
                </c:pt>
                <c:pt idx="5">
                  <c:v>65.475913160737761</c:v>
                </c:pt>
                <c:pt idx="6">
                  <c:v>55.504986222706698</c:v>
                </c:pt>
                <c:pt idx="7">
                  <c:v>51.465120724664992</c:v>
                </c:pt>
                <c:pt idx="8">
                  <c:v>49.665207100791719</c:v>
                </c:pt>
                <c:pt idx="9">
                  <c:v>54.40009211047925</c:v>
                </c:pt>
                <c:pt idx="10">
                  <c:v>53.88048325125019</c:v>
                </c:pt>
                <c:pt idx="11">
                  <c:v>52.409756535968434</c:v>
                </c:pt>
                <c:pt idx="12">
                  <c:v>48.04027185667087</c:v>
                </c:pt>
                <c:pt idx="13">
                  <c:v>46.703708313857639</c:v>
                </c:pt>
                <c:pt idx="14">
                  <c:v>44.401011172976496</c:v>
                </c:pt>
                <c:pt idx="15">
                  <c:v>43.699629110092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17F-9541-B0CE-BC13CAE35E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104539648"/>
        <c:axId val="-104538560"/>
      </c:barChart>
      <c:lineChart>
        <c:grouping val="standard"/>
        <c:varyColors val="0"/>
        <c:ser>
          <c:idx val="1"/>
          <c:order val="1"/>
          <c:tx>
            <c:strRef>
              <c:f>'T6-5, T6-6'!$A$24</c:f>
              <c:strCache>
                <c:ptCount val="1"/>
                <c:pt idx="0">
                  <c:v>Javni dug (mlrd. EUR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15"/>
              <c:layout>
                <c:manualLayout>
                  <c:x val="-3.2520325203252036E-2"/>
                  <c:y val="-4.685835995740148E-2"/>
                </c:manualLayout>
              </c:layout>
              <c:spPr>
                <a:noFill/>
                <a:ln w="2540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017F-9541-B0CE-BC13CAE35EB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6-5, T6-6'!$J$22:$AK$22</c:f>
              <c:strCache>
                <c:ptCount val="16"/>
                <c:pt idx="0">
                  <c:v>2008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Q1 2026</c:v>
                </c:pt>
              </c:strCache>
            </c:strRef>
          </c:cat>
          <c:val>
            <c:numRef>
              <c:f>'T6-5, T6-6'!$J$24:$AK$24</c:f>
              <c:numCache>
                <c:formatCode>_(* #,##0.0_);_(* \(#,##0.0\);_(* "-"??_);_(@_)</c:formatCode>
                <c:ptCount val="16"/>
                <c:pt idx="0">
                  <c:v>8.7814999999999994</c:v>
                </c:pt>
                <c:pt idx="1">
                  <c:v>17.671099999999999</c:v>
                </c:pt>
                <c:pt idx="2">
                  <c:v>20.088701165182588</c:v>
                </c:pt>
                <c:pt idx="3">
                  <c:v>22.756983746274258</c:v>
                </c:pt>
                <c:pt idx="4">
                  <c:v>24.801000000000002</c:v>
                </c:pt>
                <c:pt idx="5">
                  <c:v>24.821798351612646</c:v>
                </c:pt>
                <c:pt idx="6">
                  <c:v>23.209615425880166</c:v>
                </c:pt>
                <c:pt idx="7">
                  <c:v>23.014604617367642</c:v>
                </c:pt>
                <c:pt idx="8">
                  <c:v>23.943960881201772</c:v>
                </c:pt>
                <c:pt idx="9">
                  <c:v>26.668618945910001</c:v>
                </c:pt>
                <c:pt idx="10">
                  <c:v>30.133783202700005</c:v>
                </c:pt>
                <c:pt idx="11">
                  <c:v>33.325610303960005</c:v>
                </c:pt>
                <c:pt idx="12">
                  <c:v>36.152713582250009</c:v>
                </c:pt>
                <c:pt idx="13">
                  <c:v>38.874230860899992</c:v>
                </c:pt>
                <c:pt idx="14">
                  <c:v>39.344981085260002</c:v>
                </c:pt>
                <c:pt idx="15">
                  <c:v>39.35082408036000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017F-9541-B0CE-BC13CAE35E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536384"/>
        <c:axId val="-104535296"/>
      </c:lineChart>
      <c:catAx>
        <c:axId val="-104539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333333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8560"/>
        <c:crosses val="autoZero"/>
        <c:auto val="1"/>
        <c:lblAlgn val="ctr"/>
        <c:lblOffset val="100"/>
        <c:noMultiLvlLbl val="0"/>
      </c:catAx>
      <c:valAx>
        <c:axId val="-10453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 sz="800" b="0" i="0" u="none" strike="noStrike" baseline="0">
                    <a:solidFill>
                      <a:srgbClr val="333333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sr-Latn-RS" noProof="0" dirty="0"/>
                  <a:t>% BDP</a:t>
                </a:r>
              </a:p>
            </c:rich>
          </c:tx>
          <c:layout>
            <c:manualLayout>
              <c:xMode val="edge"/>
              <c:yMode val="edge"/>
              <c:x val="7.1823889660851223E-2"/>
              <c:y val="0.33816272965879263"/>
            </c:manualLayout>
          </c:layout>
          <c:overlay val="0"/>
          <c:spPr>
            <a:noFill/>
            <a:ln w="25400">
              <a:noFill/>
            </a:ln>
          </c:spPr>
        </c:title>
        <c:numFmt formatCode="_(* #,##0.0_);_(* \(#,##0.0\);_(* &quot;-&quot;??_);_(@_)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333333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9648"/>
        <c:crosses val="autoZero"/>
        <c:crossBetween val="between"/>
      </c:valAx>
      <c:catAx>
        <c:axId val="-104536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04535296"/>
        <c:crosses val="autoZero"/>
        <c:auto val="1"/>
        <c:lblAlgn val="ctr"/>
        <c:lblOffset val="100"/>
        <c:noMultiLvlLbl val="0"/>
      </c:catAx>
      <c:valAx>
        <c:axId val="-104535296"/>
        <c:scaling>
          <c:orientation val="minMax"/>
        </c:scaling>
        <c:delete val="0"/>
        <c:axPos val="r"/>
        <c:title>
          <c:tx>
            <c:rich>
              <a:bodyPr/>
              <a:lstStyle/>
              <a:p>
                <a:pPr>
                  <a:defRPr sz="800" b="0" i="0" u="none" strike="noStrike" baseline="0">
                    <a:solidFill>
                      <a:srgbClr val="333333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sr-Latn-RS" noProof="0" dirty="0" err="1"/>
                  <a:t>mlrd</a:t>
                </a:r>
                <a:r>
                  <a:rPr lang="sr-Latn-RS" noProof="0" dirty="0"/>
                  <a:t>. EUR</a:t>
                </a:r>
              </a:p>
            </c:rich>
          </c:tx>
          <c:layout>
            <c:manualLayout>
              <c:xMode val="edge"/>
              <c:yMode val="edge"/>
              <c:x val="0.95032679738562087"/>
              <c:y val="0.36563169468681278"/>
            </c:manualLayout>
          </c:layout>
          <c:overlay val="0"/>
          <c:spPr>
            <a:noFill/>
            <a:ln w="25400">
              <a:noFill/>
            </a:ln>
          </c:spPr>
        </c:title>
        <c:numFmt formatCode="_(* #,##0.0_);_(* \(#,##0.0\);_(* &quot;-&quot;??_);_(@_)" sourceLinked="1"/>
        <c:majorTickMark val="out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333333"/>
                </a:solidFill>
                <a:latin typeface="Times New Roman"/>
                <a:ea typeface="Times New Roman"/>
                <a:cs typeface="Times New Roman"/>
              </a:defRPr>
            </a:pPr>
            <a:endParaRPr lang="en-US"/>
          </a:p>
        </c:txPr>
        <c:crossAx val="-104536384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6531485853787801"/>
          <c:y val="0.92679875783639909"/>
          <c:w val="0.46357211546728128"/>
          <c:h val="6.060809315551384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735" b="0" i="0" u="none" strike="noStrike" baseline="0">
              <a:solidFill>
                <a:srgbClr val="333333"/>
              </a:solidFill>
              <a:latin typeface="Times New Roman"/>
              <a:ea typeface="Times New Roman"/>
              <a:cs typeface="Times New Roman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8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3">
    <c:autoUpdate val="0"/>
  </c:externalData>
  <c:userShapes r:id="rId4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41811518843164"/>
          <c:y val="8.1540205201622529E-2"/>
          <c:w val="0.82261031050363986"/>
          <c:h val="0.80548596198202493"/>
        </c:manualLayout>
      </c:layout>
      <c:lineChart>
        <c:grouping val="standard"/>
        <c:varyColors val="0"/>
        <c:ser>
          <c:idx val="1"/>
          <c:order val="1"/>
          <c:tx>
            <c:strRef>
              <c:f>'T5-7'!$D$1</c:f>
              <c:strCache>
                <c:ptCount val="1"/>
                <c:pt idx="0">
                  <c:v>inflation (yoy)</c:v>
                </c:pt>
              </c:strCache>
            </c:strRef>
          </c:tx>
          <c:spPr>
            <a:ln w="38100" cmpd="sng"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T5-7'!$B$160:$B$962</c:f>
              <c:numCache>
                <c:formatCode>[$-409]d\-mmm\-yyyy;@</c:formatCode>
                <c:ptCount val="803"/>
                <c:pt idx="0">
                  <c:v>40554</c:v>
                </c:pt>
                <c:pt idx="1">
                  <c:v>40561</c:v>
                </c:pt>
                <c:pt idx="2">
                  <c:v>40568</c:v>
                </c:pt>
                <c:pt idx="3">
                  <c:v>40575</c:v>
                </c:pt>
                <c:pt idx="4">
                  <c:v>40582</c:v>
                </c:pt>
                <c:pt idx="5">
                  <c:v>40589</c:v>
                </c:pt>
                <c:pt idx="6">
                  <c:v>40596</c:v>
                </c:pt>
                <c:pt idx="7">
                  <c:v>40603</c:v>
                </c:pt>
                <c:pt idx="8">
                  <c:v>40610</c:v>
                </c:pt>
                <c:pt idx="9">
                  <c:v>40617</c:v>
                </c:pt>
                <c:pt idx="10">
                  <c:v>40624</c:v>
                </c:pt>
                <c:pt idx="11">
                  <c:v>40631</c:v>
                </c:pt>
                <c:pt idx="12">
                  <c:v>40638</c:v>
                </c:pt>
                <c:pt idx="13">
                  <c:v>40645</c:v>
                </c:pt>
                <c:pt idx="14">
                  <c:v>40652</c:v>
                </c:pt>
                <c:pt idx="15">
                  <c:v>40659</c:v>
                </c:pt>
                <c:pt idx="16">
                  <c:v>40666</c:v>
                </c:pt>
                <c:pt idx="17">
                  <c:v>40673</c:v>
                </c:pt>
                <c:pt idx="18">
                  <c:v>40680</c:v>
                </c:pt>
                <c:pt idx="19">
                  <c:v>40687</c:v>
                </c:pt>
                <c:pt idx="20">
                  <c:v>40694</c:v>
                </c:pt>
                <c:pt idx="21">
                  <c:v>40701</c:v>
                </c:pt>
                <c:pt idx="22">
                  <c:v>40708</c:v>
                </c:pt>
                <c:pt idx="23">
                  <c:v>40715</c:v>
                </c:pt>
                <c:pt idx="24">
                  <c:v>40722</c:v>
                </c:pt>
                <c:pt idx="25">
                  <c:v>40729</c:v>
                </c:pt>
                <c:pt idx="26">
                  <c:v>40736</c:v>
                </c:pt>
                <c:pt idx="27">
                  <c:v>40743</c:v>
                </c:pt>
                <c:pt idx="28">
                  <c:v>40750</c:v>
                </c:pt>
                <c:pt idx="29">
                  <c:v>40757</c:v>
                </c:pt>
                <c:pt idx="30">
                  <c:v>40764</c:v>
                </c:pt>
                <c:pt idx="31">
                  <c:v>40771</c:v>
                </c:pt>
                <c:pt idx="32">
                  <c:v>40778</c:v>
                </c:pt>
                <c:pt idx="33">
                  <c:v>40785</c:v>
                </c:pt>
                <c:pt idx="34">
                  <c:v>40792</c:v>
                </c:pt>
                <c:pt idx="35">
                  <c:v>40799</c:v>
                </c:pt>
                <c:pt idx="36">
                  <c:v>40806</c:v>
                </c:pt>
                <c:pt idx="37">
                  <c:v>40813</c:v>
                </c:pt>
                <c:pt idx="38">
                  <c:v>40820</c:v>
                </c:pt>
                <c:pt idx="39">
                  <c:v>40827</c:v>
                </c:pt>
                <c:pt idx="40">
                  <c:v>40834</c:v>
                </c:pt>
                <c:pt idx="41">
                  <c:v>40841</c:v>
                </c:pt>
                <c:pt idx="42">
                  <c:v>40848</c:v>
                </c:pt>
                <c:pt idx="43">
                  <c:v>40855</c:v>
                </c:pt>
                <c:pt idx="44">
                  <c:v>40862</c:v>
                </c:pt>
                <c:pt idx="45">
                  <c:v>40869</c:v>
                </c:pt>
                <c:pt idx="46">
                  <c:v>40876</c:v>
                </c:pt>
                <c:pt idx="47">
                  <c:v>40883</c:v>
                </c:pt>
                <c:pt idx="48">
                  <c:v>40890</c:v>
                </c:pt>
                <c:pt idx="49">
                  <c:v>40897</c:v>
                </c:pt>
                <c:pt idx="50">
                  <c:v>40904</c:v>
                </c:pt>
                <c:pt idx="51">
                  <c:v>40911</c:v>
                </c:pt>
                <c:pt idx="52">
                  <c:v>40918</c:v>
                </c:pt>
                <c:pt idx="53">
                  <c:v>40925</c:v>
                </c:pt>
                <c:pt idx="54">
                  <c:v>40932</c:v>
                </c:pt>
                <c:pt idx="55">
                  <c:v>40939</c:v>
                </c:pt>
                <c:pt idx="56">
                  <c:v>40946</c:v>
                </c:pt>
                <c:pt idx="57">
                  <c:v>40953</c:v>
                </c:pt>
                <c:pt idx="58">
                  <c:v>40960</c:v>
                </c:pt>
                <c:pt idx="59">
                  <c:v>40967</c:v>
                </c:pt>
                <c:pt idx="60">
                  <c:v>40974</c:v>
                </c:pt>
                <c:pt idx="61">
                  <c:v>40981</c:v>
                </c:pt>
                <c:pt idx="62">
                  <c:v>40988</c:v>
                </c:pt>
                <c:pt idx="63">
                  <c:v>40995</c:v>
                </c:pt>
                <c:pt idx="64">
                  <c:v>41002</c:v>
                </c:pt>
                <c:pt idx="65">
                  <c:v>41009</c:v>
                </c:pt>
                <c:pt idx="66">
                  <c:v>41016</c:v>
                </c:pt>
                <c:pt idx="67">
                  <c:v>41023</c:v>
                </c:pt>
                <c:pt idx="68">
                  <c:v>41030</c:v>
                </c:pt>
                <c:pt idx="69">
                  <c:v>41037</c:v>
                </c:pt>
                <c:pt idx="70">
                  <c:v>41044</c:v>
                </c:pt>
                <c:pt idx="71">
                  <c:v>41051</c:v>
                </c:pt>
                <c:pt idx="72">
                  <c:v>41058</c:v>
                </c:pt>
                <c:pt idx="73">
                  <c:v>41065</c:v>
                </c:pt>
                <c:pt idx="74">
                  <c:v>41072</c:v>
                </c:pt>
                <c:pt idx="75">
                  <c:v>41079</c:v>
                </c:pt>
                <c:pt idx="76">
                  <c:v>41086</c:v>
                </c:pt>
                <c:pt idx="77">
                  <c:v>41093</c:v>
                </c:pt>
                <c:pt idx="78">
                  <c:v>41100</c:v>
                </c:pt>
                <c:pt idx="79">
                  <c:v>41107</c:v>
                </c:pt>
                <c:pt idx="80">
                  <c:v>41114</c:v>
                </c:pt>
                <c:pt idx="81">
                  <c:v>41121</c:v>
                </c:pt>
                <c:pt idx="82">
                  <c:v>41128</c:v>
                </c:pt>
                <c:pt idx="83">
                  <c:v>41135</c:v>
                </c:pt>
                <c:pt idx="84">
                  <c:v>41142</c:v>
                </c:pt>
                <c:pt idx="85">
                  <c:v>41149</c:v>
                </c:pt>
                <c:pt idx="86">
                  <c:v>41156</c:v>
                </c:pt>
                <c:pt idx="87">
                  <c:v>41163</c:v>
                </c:pt>
                <c:pt idx="88">
                  <c:v>41170</c:v>
                </c:pt>
                <c:pt idx="89">
                  <c:v>41177</c:v>
                </c:pt>
                <c:pt idx="90">
                  <c:v>41184</c:v>
                </c:pt>
                <c:pt idx="91">
                  <c:v>41191</c:v>
                </c:pt>
                <c:pt idx="92">
                  <c:v>41198</c:v>
                </c:pt>
                <c:pt idx="93">
                  <c:v>41205</c:v>
                </c:pt>
                <c:pt idx="94">
                  <c:v>41212</c:v>
                </c:pt>
                <c:pt idx="95">
                  <c:v>41219</c:v>
                </c:pt>
                <c:pt idx="96">
                  <c:v>41226</c:v>
                </c:pt>
                <c:pt idx="97">
                  <c:v>41233</c:v>
                </c:pt>
                <c:pt idx="98">
                  <c:v>41240</c:v>
                </c:pt>
                <c:pt idx="99">
                  <c:v>41247</c:v>
                </c:pt>
                <c:pt idx="100">
                  <c:v>41254</c:v>
                </c:pt>
                <c:pt idx="101">
                  <c:v>41261</c:v>
                </c:pt>
                <c:pt idx="102">
                  <c:v>41268</c:v>
                </c:pt>
                <c:pt idx="103">
                  <c:v>41275</c:v>
                </c:pt>
                <c:pt idx="104">
                  <c:v>41282</c:v>
                </c:pt>
                <c:pt idx="105">
                  <c:v>41289</c:v>
                </c:pt>
                <c:pt idx="106">
                  <c:v>41296</c:v>
                </c:pt>
                <c:pt idx="107">
                  <c:v>41303</c:v>
                </c:pt>
                <c:pt idx="108">
                  <c:v>41310</c:v>
                </c:pt>
                <c:pt idx="109">
                  <c:v>41317</c:v>
                </c:pt>
                <c:pt idx="110">
                  <c:v>41324</c:v>
                </c:pt>
                <c:pt idx="111">
                  <c:v>41331</c:v>
                </c:pt>
                <c:pt idx="112">
                  <c:v>41338</c:v>
                </c:pt>
                <c:pt idx="113">
                  <c:v>41345</c:v>
                </c:pt>
                <c:pt idx="114">
                  <c:v>41352</c:v>
                </c:pt>
                <c:pt idx="115">
                  <c:v>41359</c:v>
                </c:pt>
                <c:pt idx="116">
                  <c:v>41366</c:v>
                </c:pt>
                <c:pt idx="117">
                  <c:v>41373</c:v>
                </c:pt>
                <c:pt idx="118">
                  <c:v>41380</c:v>
                </c:pt>
                <c:pt idx="119">
                  <c:v>41387</c:v>
                </c:pt>
                <c:pt idx="120">
                  <c:v>41394</c:v>
                </c:pt>
                <c:pt idx="121">
                  <c:v>41401</c:v>
                </c:pt>
                <c:pt idx="122">
                  <c:v>41408</c:v>
                </c:pt>
                <c:pt idx="123">
                  <c:v>41415</c:v>
                </c:pt>
                <c:pt idx="124">
                  <c:v>41422</c:v>
                </c:pt>
                <c:pt idx="125">
                  <c:v>41429</c:v>
                </c:pt>
                <c:pt idx="126">
                  <c:v>41436</c:v>
                </c:pt>
                <c:pt idx="127">
                  <c:v>41443</c:v>
                </c:pt>
                <c:pt idx="128">
                  <c:v>41450</c:v>
                </c:pt>
                <c:pt idx="129">
                  <c:v>41457</c:v>
                </c:pt>
                <c:pt idx="130">
                  <c:v>41464</c:v>
                </c:pt>
                <c:pt idx="131">
                  <c:v>41471</c:v>
                </c:pt>
                <c:pt idx="132">
                  <c:v>41478</c:v>
                </c:pt>
                <c:pt idx="133">
                  <c:v>41485</c:v>
                </c:pt>
                <c:pt idx="134">
                  <c:v>41492</c:v>
                </c:pt>
                <c:pt idx="135">
                  <c:v>41499</c:v>
                </c:pt>
                <c:pt idx="136">
                  <c:v>41506</c:v>
                </c:pt>
                <c:pt idx="137">
                  <c:v>41513</c:v>
                </c:pt>
                <c:pt idx="138">
                  <c:v>41520</c:v>
                </c:pt>
                <c:pt idx="139">
                  <c:v>41527</c:v>
                </c:pt>
                <c:pt idx="140">
                  <c:v>41534</c:v>
                </c:pt>
                <c:pt idx="141">
                  <c:v>41541</c:v>
                </c:pt>
                <c:pt idx="142">
                  <c:v>41548</c:v>
                </c:pt>
                <c:pt idx="143">
                  <c:v>41555</c:v>
                </c:pt>
                <c:pt idx="144">
                  <c:v>41562</c:v>
                </c:pt>
                <c:pt idx="145">
                  <c:v>41569</c:v>
                </c:pt>
                <c:pt idx="146">
                  <c:v>41576</c:v>
                </c:pt>
                <c:pt idx="147">
                  <c:v>41583</c:v>
                </c:pt>
                <c:pt idx="148">
                  <c:v>41590</c:v>
                </c:pt>
                <c:pt idx="149">
                  <c:v>41597</c:v>
                </c:pt>
                <c:pt idx="150">
                  <c:v>41604</c:v>
                </c:pt>
                <c:pt idx="151">
                  <c:v>41611</c:v>
                </c:pt>
                <c:pt idx="152">
                  <c:v>41618</c:v>
                </c:pt>
                <c:pt idx="153">
                  <c:v>41625</c:v>
                </c:pt>
                <c:pt idx="154">
                  <c:v>41632</c:v>
                </c:pt>
                <c:pt idx="155">
                  <c:v>41639</c:v>
                </c:pt>
                <c:pt idx="156">
                  <c:v>41646</c:v>
                </c:pt>
                <c:pt idx="157">
                  <c:v>41653</c:v>
                </c:pt>
                <c:pt idx="158">
                  <c:v>41660</c:v>
                </c:pt>
                <c:pt idx="159">
                  <c:v>41667</c:v>
                </c:pt>
                <c:pt idx="160">
                  <c:v>41674</c:v>
                </c:pt>
                <c:pt idx="161">
                  <c:v>41681</c:v>
                </c:pt>
                <c:pt idx="162">
                  <c:v>41688</c:v>
                </c:pt>
                <c:pt idx="163">
                  <c:v>41695</c:v>
                </c:pt>
                <c:pt idx="164">
                  <c:v>41702</c:v>
                </c:pt>
                <c:pt idx="165">
                  <c:v>41709</c:v>
                </c:pt>
                <c:pt idx="166">
                  <c:v>41716</c:v>
                </c:pt>
                <c:pt idx="167">
                  <c:v>41723</c:v>
                </c:pt>
                <c:pt idx="168">
                  <c:v>41730</c:v>
                </c:pt>
                <c:pt idx="169">
                  <c:v>41737</c:v>
                </c:pt>
                <c:pt idx="170">
                  <c:v>41744</c:v>
                </c:pt>
                <c:pt idx="171">
                  <c:v>41751</c:v>
                </c:pt>
                <c:pt idx="172">
                  <c:v>41758</c:v>
                </c:pt>
                <c:pt idx="173">
                  <c:v>41765</c:v>
                </c:pt>
                <c:pt idx="174">
                  <c:v>41772</c:v>
                </c:pt>
                <c:pt idx="175">
                  <c:v>41779</c:v>
                </c:pt>
                <c:pt idx="176">
                  <c:v>41786</c:v>
                </c:pt>
                <c:pt idx="177">
                  <c:v>41793</c:v>
                </c:pt>
                <c:pt idx="178">
                  <c:v>41800</c:v>
                </c:pt>
                <c:pt idx="179">
                  <c:v>41807</c:v>
                </c:pt>
                <c:pt idx="180">
                  <c:v>41814</c:v>
                </c:pt>
                <c:pt idx="181">
                  <c:v>41821</c:v>
                </c:pt>
                <c:pt idx="182">
                  <c:v>41828</c:v>
                </c:pt>
                <c:pt idx="183">
                  <c:v>41835</c:v>
                </c:pt>
                <c:pt idx="184">
                  <c:v>41842</c:v>
                </c:pt>
                <c:pt idx="185">
                  <c:v>41849</c:v>
                </c:pt>
                <c:pt idx="186">
                  <c:v>41856</c:v>
                </c:pt>
                <c:pt idx="187">
                  <c:v>41863</c:v>
                </c:pt>
                <c:pt idx="188">
                  <c:v>41870</c:v>
                </c:pt>
                <c:pt idx="189">
                  <c:v>41877</c:v>
                </c:pt>
                <c:pt idx="190">
                  <c:v>41884</c:v>
                </c:pt>
                <c:pt idx="191">
                  <c:v>41891</c:v>
                </c:pt>
                <c:pt idx="192">
                  <c:v>41898</c:v>
                </c:pt>
                <c:pt idx="193">
                  <c:v>41905</c:v>
                </c:pt>
                <c:pt idx="194">
                  <c:v>41912</c:v>
                </c:pt>
                <c:pt idx="195">
                  <c:v>41919</c:v>
                </c:pt>
                <c:pt idx="196">
                  <c:v>41926</c:v>
                </c:pt>
                <c:pt idx="197">
                  <c:v>41933</c:v>
                </c:pt>
                <c:pt idx="198">
                  <c:v>41940</c:v>
                </c:pt>
                <c:pt idx="199">
                  <c:v>41947</c:v>
                </c:pt>
                <c:pt idx="200">
                  <c:v>41954</c:v>
                </c:pt>
                <c:pt idx="201">
                  <c:v>41961</c:v>
                </c:pt>
                <c:pt idx="202">
                  <c:v>41968</c:v>
                </c:pt>
                <c:pt idx="203">
                  <c:v>41975</c:v>
                </c:pt>
                <c:pt idx="204">
                  <c:v>41982</c:v>
                </c:pt>
                <c:pt idx="205">
                  <c:v>41989</c:v>
                </c:pt>
                <c:pt idx="206">
                  <c:v>41996</c:v>
                </c:pt>
                <c:pt idx="207">
                  <c:v>42003</c:v>
                </c:pt>
                <c:pt idx="208">
                  <c:v>42010</c:v>
                </c:pt>
                <c:pt idx="209">
                  <c:v>42017</c:v>
                </c:pt>
                <c:pt idx="210">
                  <c:v>42024</c:v>
                </c:pt>
                <c:pt idx="211">
                  <c:v>42031</c:v>
                </c:pt>
                <c:pt idx="212">
                  <c:v>42038</c:v>
                </c:pt>
                <c:pt idx="213">
                  <c:v>42045</c:v>
                </c:pt>
                <c:pt idx="214">
                  <c:v>42052</c:v>
                </c:pt>
                <c:pt idx="215">
                  <c:v>42059</c:v>
                </c:pt>
                <c:pt idx="216">
                  <c:v>42066</c:v>
                </c:pt>
                <c:pt idx="217">
                  <c:v>42073</c:v>
                </c:pt>
                <c:pt idx="218">
                  <c:v>42080</c:v>
                </c:pt>
                <c:pt idx="219">
                  <c:v>42087</c:v>
                </c:pt>
                <c:pt idx="220">
                  <c:v>42094</c:v>
                </c:pt>
                <c:pt idx="221">
                  <c:v>42101</c:v>
                </c:pt>
                <c:pt idx="222">
                  <c:v>42108</c:v>
                </c:pt>
                <c:pt idx="223">
                  <c:v>42115</c:v>
                </c:pt>
                <c:pt idx="224">
                  <c:v>42122</c:v>
                </c:pt>
                <c:pt idx="225">
                  <c:v>42129</c:v>
                </c:pt>
                <c:pt idx="226">
                  <c:v>42136</c:v>
                </c:pt>
                <c:pt idx="227">
                  <c:v>42143</c:v>
                </c:pt>
                <c:pt idx="228">
                  <c:v>42150</c:v>
                </c:pt>
                <c:pt idx="229">
                  <c:v>42157</c:v>
                </c:pt>
                <c:pt idx="230">
                  <c:v>42164</c:v>
                </c:pt>
                <c:pt idx="231">
                  <c:v>42171</c:v>
                </c:pt>
                <c:pt idx="232">
                  <c:v>42178</c:v>
                </c:pt>
                <c:pt idx="233">
                  <c:v>42185</c:v>
                </c:pt>
                <c:pt idx="234">
                  <c:v>42192</c:v>
                </c:pt>
                <c:pt idx="235">
                  <c:v>42199</c:v>
                </c:pt>
                <c:pt idx="236">
                  <c:v>42206</c:v>
                </c:pt>
                <c:pt idx="237">
                  <c:v>42213</c:v>
                </c:pt>
                <c:pt idx="238">
                  <c:v>42220</c:v>
                </c:pt>
                <c:pt idx="239">
                  <c:v>42227</c:v>
                </c:pt>
                <c:pt idx="240">
                  <c:v>42234</c:v>
                </c:pt>
                <c:pt idx="241">
                  <c:v>42241</c:v>
                </c:pt>
                <c:pt idx="242">
                  <c:v>42248</c:v>
                </c:pt>
                <c:pt idx="243">
                  <c:v>42255</c:v>
                </c:pt>
                <c:pt idx="244">
                  <c:v>42262</c:v>
                </c:pt>
                <c:pt idx="245">
                  <c:v>42269</c:v>
                </c:pt>
                <c:pt idx="246">
                  <c:v>42276</c:v>
                </c:pt>
                <c:pt idx="247">
                  <c:v>42283</c:v>
                </c:pt>
                <c:pt idx="248">
                  <c:v>42290</c:v>
                </c:pt>
                <c:pt idx="249">
                  <c:v>42297</c:v>
                </c:pt>
                <c:pt idx="250">
                  <c:v>42304</c:v>
                </c:pt>
                <c:pt idx="251">
                  <c:v>42311</c:v>
                </c:pt>
                <c:pt idx="252">
                  <c:v>42318</c:v>
                </c:pt>
                <c:pt idx="253">
                  <c:v>42325</c:v>
                </c:pt>
                <c:pt idx="254">
                  <c:v>42332</c:v>
                </c:pt>
                <c:pt idx="255">
                  <c:v>42339</c:v>
                </c:pt>
                <c:pt idx="256">
                  <c:v>42346</c:v>
                </c:pt>
                <c:pt idx="257">
                  <c:v>42353</c:v>
                </c:pt>
                <c:pt idx="258">
                  <c:v>42360</c:v>
                </c:pt>
                <c:pt idx="259">
                  <c:v>42367</c:v>
                </c:pt>
                <c:pt idx="260">
                  <c:v>42374</c:v>
                </c:pt>
                <c:pt idx="261">
                  <c:v>42381</c:v>
                </c:pt>
                <c:pt idx="262">
                  <c:v>42388</c:v>
                </c:pt>
                <c:pt idx="263">
                  <c:v>42395</c:v>
                </c:pt>
                <c:pt idx="264">
                  <c:v>42402</c:v>
                </c:pt>
                <c:pt idx="265">
                  <c:v>42409</c:v>
                </c:pt>
                <c:pt idx="266">
                  <c:v>42416</c:v>
                </c:pt>
                <c:pt idx="267">
                  <c:v>42423</c:v>
                </c:pt>
                <c:pt idx="268">
                  <c:v>42430</c:v>
                </c:pt>
                <c:pt idx="269">
                  <c:v>42437</c:v>
                </c:pt>
                <c:pt idx="270">
                  <c:v>42444</c:v>
                </c:pt>
                <c:pt idx="271">
                  <c:v>42451</c:v>
                </c:pt>
                <c:pt idx="272">
                  <c:v>42458</c:v>
                </c:pt>
                <c:pt idx="273">
                  <c:v>42465</c:v>
                </c:pt>
                <c:pt idx="274">
                  <c:v>42472</c:v>
                </c:pt>
                <c:pt idx="275">
                  <c:v>42479</c:v>
                </c:pt>
                <c:pt idx="276">
                  <c:v>42486</c:v>
                </c:pt>
                <c:pt idx="277">
                  <c:v>42493</c:v>
                </c:pt>
                <c:pt idx="278">
                  <c:v>42500</c:v>
                </c:pt>
                <c:pt idx="279">
                  <c:v>42507</c:v>
                </c:pt>
                <c:pt idx="280">
                  <c:v>42514</c:v>
                </c:pt>
                <c:pt idx="281">
                  <c:v>42521</c:v>
                </c:pt>
                <c:pt idx="282">
                  <c:v>42528</c:v>
                </c:pt>
                <c:pt idx="283">
                  <c:v>42535</c:v>
                </c:pt>
                <c:pt idx="284">
                  <c:v>42542</c:v>
                </c:pt>
                <c:pt idx="285">
                  <c:v>42549</c:v>
                </c:pt>
                <c:pt idx="286">
                  <c:v>42556</c:v>
                </c:pt>
                <c:pt idx="287">
                  <c:v>42563</c:v>
                </c:pt>
                <c:pt idx="288">
                  <c:v>42570</c:v>
                </c:pt>
                <c:pt idx="289">
                  <c:v>42577</c:v>
                </c:pt>
                <c:pt idx="290">
                  <c:v>42584</c:v>
                </c:pt>
                <c:pt idx="291">
                  <c:v>42591</c:v>
                </c:pt>
                <c:pt idx="292">
                  <c:v>42598</c:v>
                </c:pt>
                <c:pt idx="293">
                  <c:v>42605</c:v>
                </c:pt>
                <c:pt idx="294">
                  <c:v>42612</c:v>
                </c:pt>
                <c:pt idx="295">
                  <c:v>42619</c:v>
                </c:pt>
                <c:pt idx="296">
                  <c:v>42626</c:v>
                </c:pt>
                <c:pt idx="297">
                  <c:v>42633</c:v>
                </c:pt>
                <c:pt idx="298">
                  <c:v>42640</c:v>
                </c:pt>
                <c:pt idx="299">
                  <c:v>42647</c:v>
                </c:pt>
                <c:pt idx="300">
                  <c:v>42654</c:v>
                </c:pt>
                <c:pt idx="301">
                  <c:v>42661</c:v>
                </c:pt>
                <c:pt idx="302">
                  <c:v>42668</c:v>
                </c:pt>
                <c:pt idx="303">
                  <c:v>42675</c:v>
                </c:pt>
                <c:pt idx="304">
                  <c:v>42682</c:v>
                </c:pt>
                <c:pt idx="305">
                  <c:v>42689</c:v>
                </c:pt>
                <c:pt idx="306">
                  <c:v>42696</c:v>
                </c:pt>
                <c:pt idx="307">
                  <c:v>42703</c:v>
                </c:pt>
                <c:pt idx="308">
                  <c:v>42710</c:v>
                </c:pt>
                <c:pt idx="309">
                  <c:v>42717</c:v>
                </c:pt>
                <c:pt idx="310">
                  <c:v>42724</c:v>
                </c:pt>
                <c:pt idx="311">
                  <c:v>42731</c:v>
                </c:pt>
                <c:pt idx="312">
                  <c:v>42738</c:v>
                </c:pt>
                <c:pt idx="313">
                  <c:v>42745</c:v>
                </c:pt>
                <c:pt idx="314">
                  <c:v>42752</c:v>
                </c:pt>
                <c:pt idx="315">
                  <c:v>42759</c:v>
                </c:pt>
                <c:pt idx="316">
                  <c:v>42766</c:v>
                </c:pt>
                <c:pt idx="317">
                  <c:v>42773</c:v>
                </c:pt>
                <c:pt idx="318">
                  <c:v>42780</c:v>
                </c:pt>
                <c:pt idx="319">
                  <c:v>42787</c:v>
                </c:pt>
                <c:pt idx="320">
                  <c:v>42794</c:v>
                </c:pt>
                <c:pt idx="321">
                  <c:v>42801</c:v>
                </c:pt>
                <c:pt idx="322">
                  <c:v>42808</c:v>
                </c:pt>
                <c:pt idx="323">
                  <c:v>42815</c:v>
                </c:pt>
                <c:pt idx="324">
                  <c:v>42822</c:v>
                </c:pt>
                <c:pt idx="325">
                  <c:v>42829</c:v>
                </c:pt>
                <c:pt idx="326">
                  <c:v>42836</c:v>
                </c:pt>
                <c:pt idx="327">
                  <c:v>42843</c:v>
                </c:pt>
                <c:pt idx="328">
                  <c:v>42850</c:v>
                </c:pt>
                <c:pt idx="329">
                  <c:v>42857</c:v>
                </c:pt>
                <c:pt idx="330">
                  <c:v>42864</c:v>
                </c:pt>
                <c:pt idx="331">
                  <c:v>42871</c:v>
                </c:pt>
                <c:pt idx="332">
                  <c:v>42878</c:v>
                </c:pt>
                <c:pt idx="333">
                  <c:v>42885</c:v>
                </c:pt>
                <c:pt idx="334">
                  <c:v>42892</c:v>
                </c:pt>
                <c:pt idx="335">
                  <c:v>42899</c:v>
                </c:pt>
                <c:pt idx="336">
                  <c:v>42906</c:v>
                </c:pt>
                <c:pt idx="337">
                  <c:v>42913</c:v>
                </c:pt>
                <c:pt idx="338">
                  <c:v>42920</c:v>
                </c:pt>
                <c:pt idx="339">
                  <c:v>42927</c:v>
                </c:pt>
                <c:pt idx="340">
                  <c:v>42934</c:v>
                </c:pt>
                <c:pt idx="341">
                  <c:v>42941</c:v>
                </c:pt>
                <c:pt idx="342">
                  <c:v>42948</c:v>
                </c:pt>
                <c:pt idx="343">
                  <c:v>42955</c:v>
                </c:pt>
                <c:pt idx="344">
                  <c:v>42962</c:v>
                </c:pt>
                <c:pt idx="345">
                  <c:v>42969</c:v>
                </c:pt>
                <c:pt idx="346">
                  <c:v>42976</c:v>
                </c:pt>
                <c:pt idx="347">
                  <c:v>42983</c:v>
                </c:pt>
                <c:pt idx="348">
                  <c:v>42990</c:v>
                </c:pt>
                <c:pt idx="349">
                  <c:v>42997</c:v>
                </c:pt>
                <c:pt idx="350">
                  <c:v>43004</c:v>
                </c:pt>
                <c:pt idx="351">
                  <c:v>43011</c:v>
                </c:pt>
                <c:pt idx="352">
                  <c:v>43018</c:v>
                </c:pt>
                <c:pt idx="353">
                  <c:v>43025</c:v>
                </c:pt>
                <c:pt idx="354">
                  <c:v>43032</c:v>
                </c:pt>
                <c:pt idx="355">
                  <c:v>43039</c:v>
                </c:pt>
                <c:pt idx="356">
                  <c:v>43046</c:v>
                </c:pt>
                <c:pt idx="357">
                  <c:v>43053</c:v>
                </c:pt>
                <c:pt idx="358">
                  <c:v>43060</c:v>
                </c:pt>
                <c:pt idx="359">
                  <c:v>43067</c:v>
                </c:pt>
                <c:pt idx="360">
                  <c:v>43074</c:v>
                </c:pt>
                <c:pt idx="361">
                  <c:v>43081</c:v>
                </c:pt>
                <c:pt idx="362">
                  <c:v>43088</c:v>
                </c:pt>
                <c:pt idx="363">
                  <c:v>43095</c:v>
                </c:pt>
                <c:pt idx="364">
                  <c:v>43102</c:v>
                </c:pt>
                <c:pt idx="365">
                  <c:v>43109</c:v>
                </c:pt>
                <c:pt idx="366">
                  <c:v>43116</c:v>
                </c:pt>
                <c:pt idx="367">
                  <c:v>43123</c:v>
                </c:pt>
                <c:pt idx="368">
                  <c:v>43130</c:v>
                </c:pt>
                <c:pt idx="369">
                  <c:v>43137</c:v>
                </c:pt>
                <c:pt idx="370">
                  <c:v>43144</c:v>
                </c:pt>
                <c:pt idx="371">
                  <c:v>43151</c:v>
                </c:pt>
                <c:pt idx="372">
                  <c:v>43158</c:v>
                </c:pt>
                <c:pt idx="373">
                  <c:v>43165</c:v>
                </c:pt>
                <c:pt idx="374">
                  <c:v>43172</c:v>
                </c:pt>
                <c:pt idx="375">
                  <c:v>43179</c:v>
                </c:pt>
                <c:pt idx="376">
                  <c:v>43186</c:v>
                </c:pt>
                <c:pt idx="377">
                  <c:v>43193</c:v>
                </c:pt>
                <c:pt idx="378">
                  <c:v>43200</c:v>
                </c:pt>
                <c:pt idx="379">
                  <c:v>43207</c:v>
                </c:pt>
                <c:pt idx="380">
                  <c:v>43214</c:v>
                </c:pt>
                <c:pt idx="381">
                  <c:v>43221</c:v>
                </c:pt>
                <c:pt idx="382">
                  <c:v>43228</c:v>
                </c:pt>
                <c:pt idx="383">
                  <c:v>43235</c:v>
                </c:pt>
                <c:pt idx="384">
                  <c:v>43242</c:v>
                </c:pt>
                <c:pt idx="385">
                  <c:v>43249</c:v>
                </c:pt>
                <c:pt idx="386">
                  <c:v>43256</c:v>
                </c:pt>
                <c:pt idx="387">
                  <c:v>43263</c:v>
                </c:pt>
                <c:pt idx="388">
                  <c:v>43270</c:v>
                </c:pt>
                <c:pt idx="389">
                  <c:v>43277</c:v>
                </c:pt>
                <c:pt idx="390">
                  <c:v>43284</c:v>
                </c:pt>
                <c:pt idx="391">
                  <c:v>43291</c:v>
                </c:pt>
                <c:pt idx="392">
                  <c:v>43298</c:v>
                </c:pt>
                <c:pt idx="393">
                  <c:v>43305</c:v>
                </c:pt>
                <c:pt idx="394">
                  <c:v>43312</c:v>
                </c:pt>
                <c:pt idx="395">
                  <c:v>43319</c:v>
                </c:pt>
                <c:pt idx="396">
                  <c:v>43326</c:v>
                </c:pt>
                <c:pt idx="397">
                  <c:v>43333</c:v>
                </c:pt>
                <c:pt idx="398">
                  <c:v>43340</c:v>
                </c:pt>
                <c:pt idx="399">
                  <c:v>43347</c:v>
                </c:pt>
                <c:pt idx="400">
                  <c:v>43354</c:v>
                </c:pt>
                <c:pt idx="401">
                  <c:v>43361</c:v>
                </c:pt>
                <c:pt idx="402">
                  <c:v>43368</c:v>
                </c:pt>
                <c:pt idx="403">
                  <c:v>43375</c:v>
                </c:pt>
                <c:pt idx="404">
                  <c:v>43382</c:v>
                </c:pt>
                <c:pt idx="405">
                  <c:v>43389</c:v>
                </c:pt>
                <c:pt idx="406">
                  <c:v>43396</c:v>
                </c:pt>
                <c:pt idx="407">
                  <c:v>43403</c:v>
                </c:pt>
                <c:pt idx="408">
                  <c:v>43410</c:v>
                </c:pt>
                <c:pt idx="409">
                  <c:v>43417</c:v>
                </c:pt>
                <c:pt idx="410">
                  <c:v>43424</c:v>
                </c:pt>
                <c:pt idx="411">
                  <c:v>43431</c:v>
                </c:pt>
                <c:pt idx="412">
                  <c:v>43438</c:v>
                </c:pt>
                <c:pt idx="413">
                  <c:v>43445</c:v>
                </c:pt>
                <c:pt idx="414">
                  <c:v>43452</c:v>
                </c:pt>
                <c:pt idx="415">
                  <c:v>43459</c:v>
                </c:pt>
                <c:pt idx="416">
                  <c:v>43466</c:v>
                </c:pt>
                <c:pt idx="417">
                  <c:v>43473</c:v>
                </c:pt>
                <c:pt idx="418">
                  <c:v>43480</c:v>
                </c:pt>
                <c:pt idx="419">
                  <c:v>43487</c:v>
                </c:pt>
                <c:pt idx="420">
                  <c:v>43494</c:v>
                </c:pt>
                <c:pt idx="421">
                  <c:v>43501</c:v>
                </c:pt>
                <c:pt idx="422">
                  <c:v>43508</c:v>
                </c:pt>
                <c:pt idx="423">
                  <c:v>43515</c:v>
                </c:pt>
                <c:pt idx="424">
                  <c:v>43522</c:v>
                </c:pt>
                <c:pt idx="425">
                  <c:v>43529</c:v>
                </c:pt>
                <c:pt idx="426">
                  <c:v>43536</c:v>
                </c:pt>
                <c:pt idx="427">
                  <c:v>43543</c:v>
                </c:pt>
                <c:pt idx="428">
                  <c:v>43550</c:v>
                </c:pt>
                <c:pt idx="429">
                  <c:v>43557</c:v>
                </c:pt>
                <c:pt idx="430">
                  <c:v>43564</c:v>
                </c:pt>
                <c:pt idx="431">
                  <c:v>43571</c:v>
                </c:pt>
                <c:pt idx="432">
                  <c:v>43578</c:v>
                </c:pt>
                <c:pt idx="433">
                  <c:v>43585</c:v>
                </c:pt>
                <c:pt idx="434">
                  <c:v>43592</c:v>
                </c:pt>
                <c:pt idx="435">
                  <c:v>43599</c:v>
                </c:pt>
                <c:pt idx="436">
                  <c:v>43606</c:v>
                </c:pt>
                <c:pt idx="437">
                  <c:v>43613</c:v>
                </c:pt>
                <c:pt idx="438">
                  <c:v>43620</c:v>
                </c:pt>
                <c:pt idx="439">
                  <c:v>43627</c:v>
                </c:pt>
                <c:pt idx="440">
                  <c:v>43634</c:v>
                </c:pt>
                <c:pt idx="441">
                  <c:v>43641</c:v>
                </c:pt>
                <c:pt idx="442">
                  <c:v>43648</c:v>
                </c:pt>
                <c:pt idx="443">
                  <c:v>43655</c:v>
                </c:pt>
                <c:pt idx="444">
                  <c:v>43662</c:v>
                </c:pt>
                <c:pt idx="445">
                  <c:v>43669</c:v>
                </c:pt>
                <c:pt idx="446">
                  <c:v>43676</c:v>
                </c:pt>
                <c:pt idx="447">
                  <c:v>43683</c:v>
                </c:pt>
                <c:pt idx="448">
                  <c:v>43690</c:v>
                </c:pt>
                <c:pt idx="449">
                  <c:v>43697</c:v>
                </c:pt>
                <c:pt idx="450">
                  <c:v>43704</c:v>
                </c:pt>
                <c:pt idx="451">
                  <c:v>43711</c:v>
                </c:pt>
                <c:pt idx="452">
                  <c:v>43718</c:v>
                </c:pt>
                <c:pt idx="453">
                  <c:v>43725</c:v>
                </c:pt>
                <c:pt idx="454">
                  <c:v>43732</c:v>
                </c:pt>
                <c:pt idx="455">
                  <c:v>43739</c:v>
                </c:pt>
                <c:pt idx="456">
                  <c:v>43746</c:v>
                </c:pt>
                <c:pt idx="457">
                  <c:v>43753</c:v>
                </c:pt>
                <c:pt idx="458">
                  <c:v>43760</c:v>
                </c:pt>
                <c:pt idx="459">
                  <c:v>43767</c:v>
                </c:pt>
                <c:pt idx="460">
                  <c:v>43774</c:v>
                </c:pt>
                <c:pt idx="461">
                  <c:v>43781</c:v>
                </c:pt>
                <c:pt idx="462">
                  <c:v>43788</c:v>
                </c:pt>
                <c:pt idx="463">
                  <c:v>43795</c:v>
                </c:pt>
                <c:pt idx="464">
                  <c:v>43802</c:v>
                </c:pt>
                <c:pt idx="465">
                  <c:v>43809</c:v>
                </c:pt>
                <c:pt idx="466">
                  <c:v>43816</c:v>
                </c:pt>
                <c:pt idx="467">
                  <c:v>43823</c:v>
                </c:pt>
                <c:pt idx="468">
                  <c:v>43830</c:v>
                </c:pt>
                <c:pt idx="469">
                  <c:v>43837</c:v>
                </c:pt>
                <c:pt idx="470">
                  <c:v>43844</c:v>
                </c:pt>
                <c:pt idx="471">
                  <c:v>43851</c:v>
                </c:pt>
                <c:pt idx="472">
                  <c:v>43858</c:v>
                </c:pt>
                <c:pt idx="473">
                  <c:v>43865</c:v>
                </c:pt>
                <c:pt idx="474">
                  <c:v>43872</c:v>
                </c:pt>
                <c:pt idx="475">
                  <c:v>43879</c:v>
                </c:pt>
                <c:pt idx="476">
                  <c:v>43886</c:v>
                </c:pt>
                <c:pt idx="477">
                  <c:v>43893</c:v>
                </c:pt>
                <c:pt idx="478">
                  <c:v>43900</c:v>
                </c:pt>
                <c:pt idx="479">
                  <c:v>43907</c:v>
                </c:pt>
                <c:pt idx="480">
                  <c:v>43914</c:v>
                </c:pt>
                <c:pt idx="481">
                  <c:v>43921</c:v>
                </c:pt>
                <c:pt idx="482">
                  <c:v>43928</c:v>
                </c:pt>
                <c:pt idx="483">
                  <c:v>43935</c:v>
                </c:pt>
                <c:pt idx="484">
                  <c:v>43942</c:v>
                </c:pt>
                <c:pt idx="485">
                  <c:v>43949</c:v>
                </c:pt>
                <c:pt idx="486">
                  <c:v>43956</c:v>
                </c:pt>
                <c:pt idx="487">
                  <c:v>43963</c:v>
                </c:pt>
                <c:pt idx="488">
                  <c:v>43970</c:v>
                </c:pt>
                <c:pt idx="489">
                  <c:v>43977</c:v>
                </c:pt>
                <c:pt idx="490">
                  <c:v>43984</c:v>
                </c:pt>
                <c:pt idx="491">
                  <c:v>43991</c:v>
                </c:pt>
                <c:pt idx="492">
                  <c:v>43998</c:v>
                </c:pt>
                <c:pt idx="493">
                  <c:v>44005</c:v>
                </c:pt>
                <c:pt idx="494">
                  <c:v>44012</c:v>
                </c:pt>
                <c:pt idx="495">
                  <c:v>44019</c:v>
                </c:pt>
                <c:pt idx="496">
                  <c:v>44026</c:v>
                </c:pt>
                <c:pt idx="497">
                  <c:v>44033</c:v>
                </c:pt>
                <c:pt idx="498">
                  <c:v>44040</c:v>
                </c:pt>
                <c:pt idx="499">
                  <c:v>44047</c:v>
                </c:pt>
                <c:pt idx="500">
                  <c:v>44054</c:v>
                </c:pt>
                <c:pt idx="501">
                  <c:v>44061</c:v>
                </c:pt>
                <c:pt idx="502">
                  <c:v>44068</c:v>
                </c:pt>
                <c:pt idx="503">
                  <c:v>44075</c:v>
                </c:pt>
                <c:pt idx="504">
                  <c:v>44082</c:v>
                </c:pt>
                <c:pt idx="505">
                  <c:v>44089</c:v>
                </c:pt>
                <c:pt idx="506">
                  <c:v>44096</c:v>
                </c:pt>
                <c:pt idx="507">
                  <c:v>44103</c:v>
                </c:pt>
                <c:pt idx="508">
                  <c:v>44110</c:v>
                </c:pt>
                <c:pt idx="509">
                  <c:v>44117</c:v>
                </c:pt>
                <c:pt idx="510">
                  <c:v>44124</c:v>
                </c:pt>
                <c:pt idx="511">
                  <c:v>44131</c:v>
                </c:pt>
                <c:pt idx="512">
                  <c:v>44138</c:v>
                </c:pt>
                <c:pt idx="513">
                  <c:v>44145</c:v>
                </c:pt>
                <c:pt idx="514">
                  <c:v>44152</c:v>
                </c:pt>
                <c:pt idx="515">
                  <c:v>44159</c:v>
                </c:pt>
                <c:pt idx="516">
                  <c:v>44166</c:v>
                </c:pt>
                <c:pt idx="517">
                  <c:v>44173</c:v>
                </c:pt>
                <c:pt idx="518">
                  <c:v>44180</c:v>
                </c:pt>
                <c:pt idx="519">
                  <c:v>44187</c:v>
                </c:pt>
                <c:pt idx="520">
                  <c:v>44194</c:v>
                </c:pt>
                <c:pt idx="521">
                  <c:v>44201</c:v>
                </c:pt>
                <c:pt idx="522">
                  <c:v>44208</c:v>
                </c:pt>
                <c:pt idx="523">
                  <c:v>44215</c:v>
                </c:pt>
                <c:pt idx="524">
                  <c:v>44222</c:v>
                </c:pt>
                <c:pt idx="525">
                  <c:v>44229</c:v>
                </c:pt>
                <c:pt idx="526">
                  <c:v>44236</c:v>
                </c:pt>
                <c:pt idx="527">
                  <c:v>44243</c:v>
                </c:pt>
                <c:pt idx="528">
                  <c:v>44250</c:v>
                </c:pt>
                <c:pt idx="529">
                  <c:v>44257</c:v>
                </c:pt>
                <c:pt idx="530">
                  <c:v>44264</c:v>
                </c:pt>
                <c:pt idx="531">
                  <c:v>44271</c:v>
                </c:pt>
                <c:pt idx="532">
                  <c:v>44278</c:v>
                </c:pt>
                <c:pt idx="533">
                  <c:v>44285</c:v>
                </c:pt>
                <c:pt idx="534">
                  <c:v>44292</c:v>
                </c:pt>
                <c:pt idx="535">
                  <c:v>44299</c:v>
                </c:pt>
                <c:pt idx="536">
                  <c:v>44306</c:v>
                </c:pt>
                <c:pt idx="537">
                  <c:v>44313</c:v>
                </c:pt>
                <c:pt idx="538">
                  <c:v>44320</c:v>
                </c:pt>
                <c:pt idx="539">
                  <c:v>44327</c:v>
                </c:pt>
                <c:pt idx="540">
                  <c:v>44334</c:v>
                </c:pt>
                <c:pt idx="541">
                  <c:v>44341</c:v>
                </c:pt>
                <c:pt idx="542">
                  <c:v>44348</c:v>
                </c:pt>
                <c:pt idx="543">
                  <c:v>44355</c:v>
                </c:pt>
                <c:pt idx="544">
                  <c:v>44362</c:v>
                </c:pt>
                <c:pt idx="545">
                  <c:v>44369</c:v>
                </c:pt>
                <c:pt idx="546">
                  <c:v>44376</c:v>
                </c:pt>
                <c:pt idx="547">
                  <c:v>44383</c:v>
                </c:pt>
                <c:pt idx="548">
                  <c:v>44390</c:v>
                </c:pt>
                <c:pt idx="549">
                  <c:v>44397</c:v>
                </c:pt>
                <c:pt idx="550">
                  <c:v>44404</c:v>
                </c:pt>
                <c:pt idx="551">
                  <c:v>44411</c:v>
                </c:pt>
                <c:pt idx="552">
                  <c:v>44418</c:v>
                </c:pt>
                <c:pt idx="553">
                  <c:v>44425</c:v>
                </c:pt>
                <c:pt idx="554">
                  <c:v>44432</c:v>
                </c:pt>
                <c:pt idx="555">
                  <c:v>44439</c:v>
                </c:pt>
                <c:pt idx="556">
                  <c:v>44446</c:v>
                </c:pt>
                <c:pt idx="557">
                  <c:v>44453</c:v>
                </c:pt>
                <c:pt idx="558">
                  <c:v>44460</c:v>
                </c:pt>
                <c:pt idx="559">
                  <c:v>44467</c:v>
                </c:pt>
                <c:pt idx="560">
                  <c:v>44474</c:v>
                </c:pt>
                <c:pt idx="561">
                  <c:v>44481</c:v>
                </c:pt>
                <c:pt idx="562">
                  <c:v>44488</c:v>
                </c:pt>
                <c:pt idx="563">
                  <c:v>44495</c:v>
                </c:pt>
                <c:pt idx="564">
                  <c:v>44502</c:v>
                </c:pt>
                <c:pt idx="565">
                  <c:v>44509</c:v>
                </c:pt>
                <c:pt idx="566">
                  <c:v>44516</c:v>
                </c:pt>
                <c:pt idx="567">
                  <c:v>44523</c:v>
                </c:pt>
                <c:pt idx="568">
                  <c:v>44530</c:v>
                </c:pt>
                <c:pt idx="569">
                  <c:v>44537</c:v>
                </c:pt>
                <c:pt idx="570">
                  <c:v>44544</c:v>
                </c:pt>
                <c:pt idx="571">
                  <c:v>44551</c:v>
                </c:pt>
                <c:pt idx="572">
                  <c:v>44558</c:v>
                </c:pt>
                <c:pt idx="573">
                  <c:v>44565</c:v>
                </c:pt>
                <c:pt idx="574">
                  <c:v>44572</c:v>
                </c:pt>
                <c:pt idx="575">
                  <c:v>44579</c:v>
                </c:pt>
                <c:pt idx="576">
                  <c:v>44586</c:v>
                </c:pt>
                <c:pt idx="577">
                  <c:v>44593</c:v>
                </c:pt>
                <c:pt idx="578">
                  <c:v>44600</c:v>
                </c:pt>
                <c:pt idx="579">
                  <c:v>44607</c:v>
                </c:pt>
                <c:pt idx="580">
                  <c:v>44614</c:v>
                </c:pt>
                <c:pt idx="581">
                  <c:v>44621</c:v>
                </c:pt>
                <c:pt idx="582">
                  <c:v>44628</c:v>
                </c:pt>
                <c:pt idx="583">
                  <c:v>44635</c:v>
                </c:pt>
                <c:pt idx="584">
                  <c:v>44642</c:v>
                </c:pt>
                <c:pt idx="585">
                  <c:v>44649</c:v>
                </c:pt>
                <c:pt idx="586">
                  <c:v>44656</c:v>
                </c:pt>
                <c:pt idx="587">
                  <c:v>44663</c:v>
                </c:pt>
                <c:pt idx="588">
                  <c:v>44670</c:v>
                </c:pt>
                <c:pt idx="589">
                  <c:v>44677</c:v>
                </c:pt>
                <c:pt idx="590">
                  <c:v>44684</c:v>
                </c:pt>
                <c:pt idx="591">
                  <c:v>44691</c:v>
                </c:pt>
                <c:pt idx="592">
                  <c:v>44698</c:v>
                </c:pt>
                <c:pt idx="593">
                  <c:v>44705</c:v>
                </c:pt>
                <c:pt idx="594">
                  <c:v>44712</c:v>
                </c:pt>
                <c:pt idx="595">
                  <c:v>44719</c:v>
                </c:pt>
                <c:pt idx="596">
                  <c:v>44726</c:v>
                </c:pt>
                <c:pt idx="597">
                  <c:v>44733</c:v>
                </c:pt>
                <c:pt idx="598">
                  <c:v>44740</c:v>
                </c:pt>
                <c:pt idx="599">
                  <c:v>44747</c:v>
                </c:pt>
                <c:pt idx="600">
                  <c:v>44754</c:v>
                </c:pt>
                <c:pt idx="601">
                  <c:v>44761</c:v>
                </c:pt>
                <c:pt idx="602">
                  <c:v>44768</c:v>
                </c:pt>
                <c:pt idx="603">
                  <c:v>44775</c:v>
                </c:pt>
                <c:pt idx="604">
                  <c:v>44782</c:v>
                </c:pt>
                <c:pt idx="605">
                  <c:v>44789</c:v>
                </c:pt>
                <c:pt idx="606">
                  <c:v>44796</c:v>
                </c:pt>
                <c:pt idx="607">
                  <c:v>44803</c:v>
                </c:pt>
                <c:pt idx="608">
                  <c:v>44810</c:v>
                </c:pt>
                <c:pt idx="609">
                  <c:v>44817</c:v>
                </c:pt>
                <c:pt idx="610">
                  <c:v>44824</c:v>
                </c:pt>
                <c:pt idx="611">
                  <c:v>44831</c:v>
                </c:pt>
                <c:pt idx="612">
                  <c:v>44838</c:v>
                </c:pt>
                <c:pt idx="613">
                  <c:v>44845</c:v>
                </c:pt>
                <c:pt idx="614">
                  <c:v>44852</c:v>
                </c:pt>
                <c:pt idx="615">
                  <c:v>44859</c:v>
                </c:pt>
                <c:pt idx="616">
                  <c:v>44866</c:v>
                </c:pt>
                <c:pt idx="617">
                  <c:v>44873</c:v>
                </c:pt>
                <c:pt idx="618">
                  <c:v>44880</c:v>
                </c:pt>
                <c:pt idx="619">
                  <c:v>44887</c:v>
                </c:pt>
                <c:pt idx="620">
                  <c:v>44894</c:v>
                </c:pt>
                <c:pt idx="621">
                  <c:v>44901</c:v>
                </c:pt>
                <c:pt idx="622">
                  <c:v>44908</c:v>
                </c:pt>
                <c:pt idx="623">
                  <c:v>44915</c:v>
                </c:pt>
                <c:pt idx="624">
                  <c:v>44922</c:v>
                </c:pt>
                <c:pt idx="625">
                  <c:v>44929</c:v>
                </c:pt>
                <c:pt idx="626">
                  <c:v>44936</c:v>
                </c:pt>
                <c:pt idx="627">
                  <c:v>44943</c:v>
                </c:pt>
                <c:pt idx="628">
                  <c:v>44950</c:v>
                </c:pt>
                <c:pt idx="629">
                  <c:v>44957</c:v>
                </c:pt>
                <c:pt idx="630">
                  <c:v>44964</c:v>
                </c:pt>
                <c:pt idx="631">
                  <c:v>44971</c:v>
                </c:pt>
                <c:pt idx="632">
                  <c:v>44978</c:v>
                </c:pt>
                <c:pt idx="633">
                  <c:v>44985</c:v>
                </c:pt>
                <c:pt idx="634">
                  <c:v>44992</c:v>
                </c:pt>
                <c:pt idx="635">
                  <c:v>44999</c:v>
                </c:pt>
                <c:pt idx="636">
                  <c:v>45006</c:v>
                </c:pt>
                <c:pt idx="637">
                  <c:v>45013</c:v>
                </c:pt>
                <c:pt idx="638">
                  <c:v>45020</c:v>
                </c:pt>
                <c:pt idx="639">
                  <c:v>45027</c:v>
                </c:pt>
                <c:pt idx="640">
                  <c:v>45034</c:v>
                </c:pt>
                <c:pt idx="641">
                  <c:v>45041</c:v>
                </c:pt>
                <c:pt idx="642">
                  <c:v>45048</c:v>
                </c:pt>
                <c:pt idx="643">
                  <c:v>45055</c:v>
                </c:pt>
                <c:pt idx="644">
                  <c:v>45062</c:v>
                </c:pt>
                <c:pt idx="645">
                  <c:v>45069</c:v>
                </c:pt>
                <c:pt idx="646">
                  <c:v>45076</c:v>
                </c:pt>
                <c:pt idx="647">
                  <c:v>45083</c:v>
                </c:pt>
                <c:pt idx="648">
                  <c:v>45090</c:v>
                </c:pt>
                <c:pt idx="649">
                  <c:v>45097</c:v>
                </c:pt>
                <c:pt idx="650">
                  <c:v>45104</c:v>
                </c:pt>
                <c:pt idx="651">
                  <c:v>45111</c:v>
                </c:pt>
                <c:pt idx="652">
                  <c:v>45118</c:v>
                </c:pt>
                <c:pt idx="653">
                  <c:v>45125</c:v>
                </c:pt>
                <c:pt idx="654">
                  <c:v>45132</c:v>
                </c:pt>
                <c:pt idx="655">
                  <c:v>45139</c:v>
                </c:pt>
                <c:pt idx="656">
                  <c:v>45146</c:v>
                </c:pt>
                <c:pt idx="657">
                  <c:v>45153</c:v>
                </c:pt>
                <c:pt idx="658">
                  <c:v>45160</c:v>
                </c:pt>
                <c:pt idx="659">
                  <c:v>45167</c:v>
                </c:pt>
                <c:pt idx="660">
                  <c:v>45174</c:v>
                </c:pt>
                <c:pt idx="661">
                  <c:v>45181</c:v>
                </c:pt>
                <c:pt idx="662">
                  <c:v>45188</c:v>
                </c:pt>
                <c:pt idx="663">
                  <c:v>45195</c:v>
                </c:pt>
                <c:pt idx="664">
                  <c:v>45202</c:v>
                </c:pt>
                <c:pt idx="665">
                  <c:v>45209</c:v>
                </c:pt>
                <c:pt idx="666">
                  <c:v>45216</c:v>
                </c:pt>
                <c:pt idx="667">
                  <c:v>45223</c:v>
                </c:pt>
                <c:pt idx="668">
                  <c:v>45230</c:v>
                </c:pt>
                <c:pt idx="669">
                  <c:v>45237</c:v>
                </c:pt>
                <c:pt idx="670">
                  <c:v>45244</c:v>
                </c:pt>
                <c:pt idx="671">
                  <c:v>45251</c:v>
                </c:pt>
                <c:pt idx="672">
                  <c:v>45258</c:v>
                </c:pt>
                <c:pt idx="673">
                  <c:v>45265</c:v>
                </c:pt>
                <c:pt idx="674">
                  <c:v>45272</c:v>
                </c:pt>
                <c:pt idx="675">
                  <c:v>45279</c:v>
                </c:pt>
                <c:pt idx="676">
                  <c:v>45286</c:v>
                </c:pt>
                <c:pt idx="677">
                  <c:v>45293</c:v>
                </c:pt>
                <c:pt idx="678">
                  <c:v>45300</c:v>
                </c:pt>
                <c:pt idx="679">
                  <c:v>45307</c:v>
                </c:pt>
                <c:pt idx="680">
                  <c:v>45314</c:v>
                </c:pt>
                <c:pt idx="681">
                  <c:v>45321</c:v>
                </c:pt>
                <c:pt idx="682">
                  <c:v>45328</c:v>
                </c:pt>
                <c:pt idx="683">
                  <c:v>45335</c:v>
                </c:pt>
                <c:pt idx="684">
                  <c:v>45342</c:v>
                </c:pt>
                <c:pt idx="685">
                  <c:v>45349</c:v>
                </c:pt>
                <c:pt idx="686">
                  <c:v>45356</c:v>
                </c:pt>
                <c:pt idx="687">
                  <c:v>45363</c:v>
                </c:pt>
                <c:pt idx="688">
                  <c:v>45370</c:v>
                </c:pt>
                <c:pt idx="689">
                  <c:v>45377</c:v>
                </c:pt>
                <c:pt idx="690">
                  <c:v>45384</c:v>
                </c:pt>
                <c:pt idx="691">
                  <c:v>45391</c:v>
                </c:pt>
                <c:pt idx="692">
                  <c:v>45398</c:v>
                </c:pt>
                <c:pt idx="693">
                  <c:v>45405</c:v>
                </c:pt>
                <c:pt idx="694">
                  <c:v>45412</c:v>
                </c:pt>
                <c:pt idx="695">
                  <c:v>45419</c:v>
                </c:pt>
                <c:pt idx="696">
                  <c:v>45426</c:v>
                </c:pt>
                <c:pt idx="697">
                  <c:v>45433</c:v>
                </c:pt>
                <c:pt idx="698">
                  <c:v>45440</c:v>
                </c:pt>
                <c:pt idx="699">
                  <c:v>45447</c:v>
                </c:pt>
                <c:pt idx="700">
                  <c:v>45454</c:v>
                </c:pt>
                <c:pt idx="701">
                  <c:v>45461</c:v>
                </c:pt>
                <c:pt idx="702">
                  <c:v>45468</c:v>
                </c:pt>
                <c:pt idx="703">
                  <c:v>45475</c:v>
                </c:pt>
                <c:pt idx="704">
                  <c:v>45482</c:v>
                </c:pt>
                <c:pt idx="705">
                  <c:v>45489</c:v>
                </c:pt>
                <c:pt idx="706">
                  <c:v>45496</c:v>
                </c:pt>
                <c:pt idx="707">
                  <c:v>45503</c:v>
                </c:pt>
                <c:pt idx="708">
                  <c:v>45510</c:v>
                </c:pt>
                <c:pt idx="709">
                  <c:v>45517</c:v>
                </c:pt>
                <c:pt idx="710">
                  <c:v>45524</c:v>
                </c:pt>
                <c:pt idx="711">
                  <c:v>45531</c:v>
                </c:pt>
                <c:pt idx="712">
                  <c:v>45538</c:v>
                </c:pt>
                <c:pt idx="713">
                  <c:v>45545</c:v>
                </c:pt>
                <c:pt idx="714">
                  <c:v>45552</c:v>
                </c:pt>
                <c:pt idx="715">
                  <c:v>45559</c:v>
                </c:pt>
                <c:pt idx="716">
                  <c:v>45566</c:v>
                </c:pt>
                <c:pt idx="717">
                  <c:v>45573</c:v>
                </c:pt>
                <c:pt idx="718">
                  <c:v>45580</c:v>
                </c:pt>
                <c:pt idx="719">
                  <c:v>45587</c:v>
                </c:pt>
                <c:pt idx="720">
                  <c:v>45594</c:v>
                </c:pt>
                <c:pt idx="721">
                  <c:v>45601</c:v>
                </c:pt>
                <c:pt idx="722">
                  <c:v>45608</c:v>
                </c:pt>
                <c:pt idx="723">
                  <c:v>45615</c:v>
                </c:pt>
                <c:pt idx="724">
                  <c:v>45622</c:v>
                </c:pt>
                <c:pt idx="725">
                  <c:v>45629</c:v>
                </c:pt>
                <c:pt idx="726">
                  <c:v>45636</c:v>
                </c:pt>
                <c:pt idx="727">
                  <c:v>45643</c:v>
                </c:pt>
                <c:pt idx="728">
                  <c:v>45650</c:v>
                </c:pt>
                <c:pt idx="729">
                  <c:v>45657</c:v>
                </c:pt>
                <c:pt idx="730">
                  <c:v>45664</c:v>
                </c:pt>
                <c:pt idx="731">
                  <c:v>45671</c:v>
                </c:pt>
                <c:pt idx="732">
                  <c:v>45678</c:v>
                </c:pt>
                <c:pt idx="733">
                  <c:v>45685</c:v>
                </c:pt>
                <c:pt idx="734">
                  <c:v>45692</c:v>
                </c:pt>
                <c:pt idx="735">
                  <c:v>45699</c:v>
                </c:pt>
                <c:pt idx="736">
                  <c:v>45706</c:v>
                </c:pt>
                <c:pt idx="737">
                  <c:v>45713</c:v>
                </c:pt>
                <c:pt idx="738">
                  <c:v>45720</c:v>
                </c:pt>
                <c:pt idx="739">
                  <c:v>45727</c:v>
                </c:pt>
                <c:pt idx="740">
                  <c:v>45734</c:v>
                </c:pt>
                <c:pt idx="741">
                  <c:v>45741</c:v>
                </c:pt>
                <c:pt idx="742">
                  <c:v>45748</c:v>
                </c:pt>
                <c:pt idx="743">
                  <c:v>45755</c:v>
                </c:pt>
                <c:pt idx="744">
                  <c:v>45762</c:v>
                </c:pt>
                <c:pt idx="745">
                  <c:v>45769</c:v>
                </c:pt>
                <c:pt idx="746">
                  <c:v>45776</c:v>
                </c:pt>
                <c:pt idx="747">
                  <c:v>45783</c:v>
                </c:pt>
                <c:pt idx="748">
                  <c:v>45790</c:v>
                </c:pt>
                <c:pt idx="749">
                  <c:v>45797</c:v>
                </c:pt>
                <c:pt idx="750">
                  <c:v>45804</c:v>
                </c:pt>
                <c:pt idx="751">
                  <c:v>45811</c:v>
                </c:pt>
                <c:pt idx="752">
                  <c:v>45818</c:v>
                </c:pt>
                <c:pt idx="753">
                  <c:v>45825</c:v>
                </c:pt>
                <c:pt idx="754">
                  <c:v>45832</c:v>
                </c:pt>
                <c:pt idx="755">
                  <c:v>45839</c:v>
                </c:pt>
                <c:pt idx="756">
                  <c:v>45846</c:v>
                </c:pt>
                <c:pt idx="757">
                  <c:v>45853</c:v>
                </c:pt>
                <c:pt idx="758">
                  <c:v>45860</c:v>
                </c:pt>
                <c:pt idx="759">
                  <c:v>45867</c:v>
                </c:pt>
                <c:pt idx="760">
                  <c:v>45874</c:v>
                </c:pt>
                <c:pt idx="761">
                  <c:v>45881</c:v>
                </c:pt>
                <c:pt idx="762">
                  <c:v>45888</c:v>
                </c:pt>
                <c:pt idx="763">
                  <c:v>45895</c:v>
                </c:pt>
                <c:pt idx="764">
                  <c:v>45902</c:v>
                </c:pt>
                <c:pt idx="765">
                  <c:v>45909</c:v>
                </c:pt>
                <c:pt idx="766">
                  <c:v>45916</c:v>
                </c:pt>
                <c:pt idx="767">
                  <c:v>45923</c:v>
                </c:pt>
                <c:pt idx="768">
                  <c:v>45930</c:v>
                </c:pt>
                <c:pt idx="769">
                  <c:v>45937</c:v>
                </c:pt>
                <c:pt idx="770">
                  <c:v>45944</c:v>
                </c:pt>
                <c:pt idx="771">
                  <c:v>45951</c:v>
                </c:pt>
                <c:pt idx="772">
                  <c:v>45958</c:v>
                </c:pt>
                <c:pt idx="773">
                  <c:v>45965</c:v>
                </c:pt>
                <c:pt idx="774">
                  <c:v>45972</c:v>
                </c:pt>
                <c:pt idx="775">
                  <c:v>45979</c:v>
                </c:pt>
                <c:pt idx="776">
                  <c:v>45986</c:v>
                </c:pt>
                <c:pt idx="777">
                  <c:v>45993</c:v>
                </c:pt>
                <c:pt idx="778">
                  <c:v>46000</c:v>
                </c:pt>
                <c:pt idx="779">
                  <c:v>46007</c:v>
                </c:pt>
                <c:pt idx="780">
                  <c:v>46014</c:v>
                </c:pt>
                <c:pt idx="781">
                  <c:v>46021</c:v>
                </c:pt>
                <c:pt idx="782">
                  <c:v>46028</c:v>
                </c:pt>
                <c:pt idx="783">
                  <c:v>46035</c:v>
                </c:pt>
                <c:pt idx="784">
                  <c:v>46042</c:v>
                </c:pt>
                <c:pt idx="785">
                  <c:v>46049</c:v>
                </c:pt>
                <c:pt idx="786">
                  <c:v>46056</c:v>
                </c:pt>
                <c:pt idx="787">
                  <c:v>46063</c:v>
                </c:pt>
                <c:pt idx="788">
                  <c:v>46070</c:v>
                </c:pt>
                <c:pt idx="789">
                  <c:v>46077</c:v>
                </c:pt>
                <c:pt idx="790">
                  <c:v>46084</c:v>
                </c:pt>
                <c:pt idx="791">
                  <c:v>46091</c:v>
                </c:pt>
                <c:pt idx="792">
                  <c:v>46098</c:v>
                </c:pt>
                <c:pt idx="793">
                  <c:v>46105</c:v>
                </c:pt>
                <c:pt idx="794">
                  <c:v>46112</c:v>
                </c:pt>
                <c:pt idx="795">
                  <c:v>46119</c:v>
                </c:pt>
                <c:pt idx="796">
                  <c:v>46126</c:v>
                </c:pt>
                <c:pt idx="797">
                  <c:v>46133</c:v>
                </c:pt>
                <c:pt idx="798">
                  <c:v>46140</c:v>
                </c:pt>
                <c:pt idx="799">
                  <c:v>46147</c:v>
                </c:pt>
                <c:pt idx="800">
                  <c:v>46154</c:v>
                </c:pt>
                <c:pt idx="801">
                  <c:v>46161</c:v>
                </c:pt>
                <c:pt idx="802">
                  <c:v>46168</c:v>
                </c:pt>
              </c:numCache>
            </c:numRef>
          </c:cat>
          <c:val>
            <c:numRef>
              <c:f>'T5-7'!$D$160:$D$962</c:f>
              <c:numCache>
                <c:formatCode>0.00</c:formatCode>
                <c:ptCount val="803"/>
                <c:pt idx="0">
                  <c:v>11.238776441941866</c:v>
                </c:pt>
                <c:pt idx="1">
                  <c:v>11.238776441941866</c:v>
                </c:pt>
                <c:pt idx="2">
                  <c:v>11.238776441941866</c:v>
                </c:pt>
                <c:pt idx="3">
                  <c:v>12.559763223799036</c:v>
                </c:pt>
                <c:pt idx="4">
                  <c:v>12.559763223799036</c:v>
                </c:pt>
                <c:pt idx="5">
                  <c:v>12.559763223799036</c:v>
                </c:pt>
                <c:pt idx="6">
                  <c:v>12.559763223799036</c:v>
                </c:pt>
                <c:pt idx="7">
                  <c:v>14.143232095988022</c:v>
                </c:pt>
                <c:pt idx="8">
                  <c:v>14.143232095988022</c:v>
                </c:pt>
                <c:pt idx="9">
                  <c:v>14.143232095988022</c:v>
                </c:pt>
                <c:pt idx="10">
                  <c:v>14.143232095988022</c:v>
                </c:pt>
                <c:pt idx="11">
                  <c:v>14.143232095988022</c:v>
                </c:pt>
                <c:pt idx="12">
                  <c:v>14.697986577181222</c:v>
                </c:pt>
                <c:pt idx="13">
                  <c:v>14.697986577181222</c:v>
                </c:pt>
                <c:pt idx="14">
                  <c:v>14.697986577181222</c:v>
                </c:pt>
                <c:pt idx="15">
                  <c:v>14.697986577181222</c:v>
                </c:pt>
                <c:pt idx="16">
                  <c:v>13.4</c:v>
                </c:pt>
                <c:pt idx="17">
                  <c:v>13.4</c:v>
                </c:pt>
                <c:pt idx="18">
                  <c:v>13.4</c:v>
                </c:pt>
                <c:pt idx="19">
                  <c:v>13.4</c:v>
                </c:pt>
                <c:pt idx="20">
                  <c:v>13.4</c:v>
                </c:pt>
                <c:pt idx="21">
                  <c:v>12.648134601316773</c:v>
                </c:pt>
                <c:pt idx="22">
                  <c:v>12.648134601316773</c:v>
                </c:pt>
                <c:pt idx="23">
                  <c:v>12.648134601316773</c:v>
                </c:pt>
                <c:pt idx="24">
                  <c:v>12.648134601316773</c:v>
                </c:pt>
                <c:pt idx="25">
                  <c:v>12.10568689160505</c:v>
                </c:pt>
                <c:pt idx="26">
                  <c:v>12.10568689160505</c:v>
                </c:pt>
                <c:pt idx="27">
                  <c:v>12.10568689160505</c:v>
                </c:pt>
                <c:pt idx="28">
                  <c:v>12.10568689160505</c:v>
                </c:pt>
                <c:pt idx="29">
                  <c:v>10.51833670228126</c:v>
                </c:pt>
                <c:pt idx="30">
                  <c:v>10.51833670228126</c:v>
                </c:pt>
                <c:pt idx="31">
                  <c:v>10.51833670228126</c:v>
                </c:pt>
                <c:pt idx="32">
                  <c:v>10.51833670228126</c:v>
                </c:pt>
                <c:pt idx="33">
                  <c:v>10.51833670228126</c:v>
                </c:pt>
                <c:pt idx="34">
                  <c:v>9.2956943256344395</c:v>
                </c:pt>
                <c:pt idx="35">
                  <c:v>9.2956943256344395</c:v>
                </c:pt>
                <c:pt idx="36">
                  <c:v>9.2956943256344395</c:v>
                </c:pt>
                <c:pt idx="37">
                  <c:v>9.2956943256344395</c:v>
                </c:pt>
                <c:pt idx="38">
                  <c:v>8.6904341687257247</c:v>
                </c:pt>
                <c:pt idx="39">
                  <c:v>8.6904341687257247</c:v>
                </c:pt>
                <c:pt idx="40">
                  <c:v>8.6904341687257247</c:v>
                </c:pt>
                <c:pt idx="41">
                  <c:v>8.6904341687257247</c:v>
                </c:pt>
                <c:pt idx="42">
                  <c:v>8.0481357818586794</c:v>
                </c:pt>
                <c:pt idx="43">
                  <c:v>8.0481357818586794</c:v>
                </c:pt>
                <c:pt idx="44">
                  <c:v>8.0481357818586794</c:v>
                </c:pt>
                <c:pt idx="45">
                  <c:v>8.0481357818586794</c:v>
                </c:pt>
                <c:pt idx="46">
                  <c:v>8.0481357818586794</c:v>
                </c:pt>
                <c:pt idx="47">
                  <c:v>6.9759378683863726</c:v>
                </c:pt>
                <c:pt idx="48">
                  <c:v>6.9759378683863726</c:v>
                </c:pt>
                <c:pt idx="49">
                  <c:v>6.9759378683863726</c:v>
                </c:pt>
                <c:pt idx="50">
                  <c:v>6.9759378683863726</c:v>
                </c:pt>
                <c:pt idx="51">
                  <c:v>5.6296600314658996</c:v>
                </c:pt>
                <c:pt idx="52">
                  <c:v>5.6296600314658996</c:v>
                </c:pt>
                <c:pt idx="53">
                  <c:v>5.6296600314658996</c:v>
                </c:pt>
                <c:pt idx="54">
                  <c:v>5.6296600314658996</c:v>
                </c:pt>
                <c:pt idx="55">
                  <c:v>5.6296600314658996</c:v>
                </c:pt>
                <c:pt idx="56">
                  <c:v>4.9757281553397981</c:v>
                </c:pt>
                <c:pt idx="57">
                  <c:v>4.9757281553397981</c:v>
                </c:pt>
                <c:pt idx="58">
                  <c:v>4.9757281553397981</c:v>
                </c:pt>
                <c:pt idx="59">
                  <c:v>4.9757281553397981</c:v>
                </c:pt>
                <c:pt idx="60">
                  <c:v>3.4163326982458386</c:v>
                </c:pt>
                <c:pt idx="61">
                  <c:v>3.4163326982458386</c:v>
                </c:pt>
                <c:pt idx="62">
                  <c:v>3.4163326982458386</c:v>
                </c:pt>
                <c:pt idx="63">
                  <c:v>3.4163326982458386</c:v>
                </c:pt>
                <c:pt idx="64">
                  <c:v>2.74</c:v>
                </c:pt>
                <c:pt idx="65">
                  <c:v>2.74</c:v>
                </c:pt>
                <c:pt idx="66">
                  <c:v>2.74</c:v>
                </c:pt>
                <c:pt idx="67">
                  <c:v>2.74</c:v>
                </c:pt>
                <c:pt idx="68">
                  <c:v>3.9704644083166096</c:v>
                </c:pt>
                <c:pt idx="69">
                  <c:v>3.9704644083166096</c:v>
                </c:pt>
                <c:pt idx="70">
                  <c:v>3.9704644083166096</c:v>
                </c:pt>
                <c:pt idx="71">
                  <c:v>3.9704644083166096</c:v>
                </c:pt>
                <c:pt idx="72">
                  <c:v>3.9704644083166096</c:v>
                </c:pt>
                <c:pt idx="73">
                  <c:v>5.5</c:v>
                </c:pt>
                <c:pt idx="74">
                  <c:v>5.5</c:v>
                </c:pt>
                <c:pt idx="75">
                  <c:v>5.5</c:v>
                </c:pt>
                <c:pt idx="76">
                  <c:v>5.5</c:v>
                </c:pt>
                <c:pt idx="77">
                  <c:v>6.1565580727296565</c:v>
                </c:pt>
                <c:pt idx="78">
                  <c:v>6.1565580727296565</c:v>
                </c:pt>
                <c:pt idx="79">
                  <c:v>6.1565580727296565</c:v>
                </c:pt>
                <c:pt idx="80">
                  <c:v>6.1565580727296565</c:v>
                </c:pt>
                <c:pt idx="81">
                  <c:v>6.1565580727296565</c:v>
                </c:pt>
                <c:pt idx="82">
                  <c:v>7.93</c:v>
                </c:pt>
                <c:pt idx="83">
                  <c:v>7.93</c:v>
                </c:pt>
                <c:pt idx="84">
                  <c:v>7.93</c:v>
                </c:pt>
                <c:pt idx="85">
                  <c:v>7.93</c:v>
                </c:pt>
                <c:pt idx="86" formatCode="General">
                  <c:v>10.3</c:v>
                </c:pt>
                <c:pt idx="87" formatCode="General">
                  <c:v>10.3</c:v>
                </c:pt>
                <c:pt idx="88" formatCode="General">
                  <c:v>10.3</c:v>
                </c:pt>
                <c:pt idx="89" formatCode="General">
                  <c:v>10.3</c:v>
                </c:pt>
                <c:pt idx="90" formatCode="General">
                  <c:v>12.9</c:v>
                </c:pt>
                <c:pt idx="91" formatCode="General">
                  <c:v>12.9</c:v>
                </c:pt>
                <c:pt idx="92" formatCode="General">
                  <c:v>12.9</c:v>
                </c:pt>
                <c:pt idx="93" formatCode="General">
                  <c:v>12.9</c:v>
                </c:pt>
                <c:pt idx="94" formatCode="General">
                  <c:v>12.9</c:v>
                </c:pt>
                <c:pt idx="95" formatCode="General">
                  <c:v>11.9</c:v>
                </c:pt>
                <c:pt idx="96" formatCode="General">
                  <c:v>11.9</c:v>
                </c:pt>
                <c:pt idx="97" formatCode="General">
                  <c:v>11.9</c:v>
                </c:pt>
                <c:pt idx="98" formatCode="General">
                  <c:v>11.9</c:v>
                </c:pt>
                <c:pt idx="99" formatCode="General">
                  <c:v>12.2</c:v>
                </c:pt>
                <c:pt idx="100" formatCode="General">
                  <c:v>12.2</c:v>
                </c:pt>
                <c:pt idx="101" formatCode="General">
                  <c:v>12.2</c:v>
                </c:pt>
                <c:pt idx="102" formatCode="General">
                  <c:v>12.2</c:v>
                </c:pt>
                <c:pt idx="103" formatCode="General">
                  <c:v>12.7</c:v>
                </c:pt>
                <c:pt idx="104" formatCode="General">
                  <c:v>12.7</c:v>
                </c:pt>
                <c:pt idx="105" formatCode="General">
                  <c:v>12.7</c:v>
                </c:pt>
                <c:pt idx="106" formatCode="General">
                  <c:v>12.7</c:v>
                </c:pt>
                <c:pt idx="107" formatCode="General">
                  <c:v>12.7</c:v>
                </c:pt>
                <c:pt idx="108" formatCode="General">
                  <c:v>12.5</c:v>
                </c:pt>
                <c:pt idx="109" formatCode="General">
                  <c:v>12.5</c:v>
                </c:pt>
                <c:pt idx="110" formatCode="General">
                  <c:v>12.5</c:v>
                </c:pt>
                <c:pt idx="111" formatCode="General">
                  <c:v>12.5</c:v>
                </c:pt>
                <c:pt idx="112" formatCode="General">
                  <c:v>11.2</c:v>
                </c:pt>
                <c:pt idx="113" formatCode="General">
                  <c:v>11.2</c:v>
                </c:pt>
                <c:pt idx="114" formatCode="General">
                  <c:v>11.2</c:v>
                </c:pt>
                <c:pt idx="115" formatCode="General">
                  <c:v>11.2</c:v>
                </c:pt>
                <c:pt idx="116" formatCode="General">
                  <c:v>11.5</c:v>
                </c:pt>
                <c:pt idx="117" formatCode="General">
                  <c:v>11.5</c:v>
                </c:pt>
                <c:pt idx="118" formatCode="General">
                  <c:v>11.5</c:v>
                </c:pt>
                <c:pt idx="119" formatCode="General">
                  <c:v>11.5</c:v>
                </c:pt>
                <c:pt idx="120" formatCode="General">
                  <c:v>11.5</c:v>
                </c:pt>
                <c:pt idx="121" formatCode="General">
                  <c:v>10</c:v>
                </c:pt>
                <c:pt idx="122" formatCode="General">
                  <c:v>10</c:v>
                </c:pt>
                <c:pt idx="123" formatCode="General">
                  <c:v>10</c:v>
                </c:pt>
                <c:pt idx="124" formatCode="General">
                  <c:v>10</c:v>
                </c:pt>
                <c:pt idx="125" formatCode="General">
                  <c:v>9.6999999999999993</c:v>
                </c:pt>
                <c:pt idx="126" formatCode="General">
                  <c:v>9.6999999999999993</c:v>
                </c:pt>
                <c:pt idx="127" formatCode="General">
                  <c:v>9.6999999999999993</c:v>
                </c:pt>
                <c:pt idx="128" formatCode="General">
                  <c:v>9.6999999999999993</c:v>
                </c:pt>
                <c:pt idx="129" formatCode="General">
                  <c:v>8.6</c:v>
                </c:pt>
                <c:pt idx="130" formatCode="General">
                  <c:v>8.6</c:v>
                </c:pt>
                <c:pt idx="131" formatCode="General">
                  <c:v>8.6</c:v>
                </c:pt>
                <c:pt idx="132" formatCode="General">
                  <c:v>8.6</c:v>
                </c:pt>
                <c:pt idx="133" formatCode="General">
                  <c:v>8.6</c:v>
                </c:pt>
                <c:pt idx="134" formatCode="General">
                  <c:v>7.3</c:v>
                </c:pt>
                <c:pt idx="135" formatCode="General">
                  <c:v>7.3</c:v>
                </c:pt>
                <c:pt idx="136" formatCode="General">
                  <c:v>7.3</c:v>
                </c:pt>
                <c:pt idx="137" formatCode="General">
                  <c:v>7.3</c:v>
                </c:pt>
                <c:pt idx="138" formatCode="General">
                  <c:v>4.8</c:v>
                </c:pt>
                <c:pt idx="139" formatCode="General">
                  <c:v>4.8</c:v>
                </c:pt>
                <c:pt idx="140" formatCode="General">
                  <c:v>4.8</c:v>
                </c:pt>
                <c:pt idx="141" formatCode="General">
                  <c:v>4.8</c:v>
                </c:pt>
                <c:pt idx="142" formatCode="General">
                  <c:v>2.2000000000000002</c:v>
                </c:pt>
                <c:pt idx="143" formatCode="General">
                  <c:v>2.2000000000000002</c:v>
                </c:pt>
                <c:pt idx="144" formatCode="General">
                  <c:v>2.2000000000000002</c:v>
                </c:pt>
                <c:pt idx="145" formatCode="General">
                  <c:v>2.2000000000000002</c:v>
                </c:pt>
                <c:pt idx="146" formatCode="General">
                  <c:v>2.2000000000000002</c:v>
                </c:pt>
                <c:pt idx="147" formatCode="General">
                  <c:v>1.6</c:v>
                </c:pt>
                <c:pt idx="148" formatCode="General">
                  <c:v>1.6</c:v>
                </c:pt>
                <c:pt idx="149" formatCode="General">
                  <c:v>1.6</c:v>
                </c:pt>
                <c:pt idx="150" formatCode="General">
                  <c:v>1.6</c:v>
                </c:pt>
                <c:pt idx="151" formatCode="General">
                  <c:v>2.2000000000000002</c:v>
                </c:pt>
                <c:pt idx="152" formatCode="General">
                  <c:v>2.2000000000000002</c:v>
                </c:pt>
                <c:pt idx="153" formatCode="General">
                  <c:v>2.2000000000000002</c:v>
                </c:pt>
                <c:pt idx="154" formatCode="General">
                  <c:v>2.2000000000000002</c:v>
                </c:pt>
                <c:pt idx="155" formatCode="General">
                  <c:v>2.2000000000000002</c:v>
                </c:pt>
                <c:pt idx="156" formatCode="General">
                  <c:v>3.1</c:v>
                </c:pt>
                <c:pt idx="157" formatCode="General">
                  <c:v>3.1</c:v>
                </c:pt>
                <c:pt idx="158" formatCode="General">
                  <c:v>3.1</c:v>
                </c:pt>
                <c:pt idx="159" formatCode="General">
                  <c:v>3.1</c:v>
                </c:pt>
                <c:pt idx="160" formatCode="General">
                  <c:v>2.6</c:v>
                </c:pt>
                <c:pt idx="161" formatCode="General">
                  <c:v>2.6</c:v>
                </c:pt>
                <c:pt idx="162" formatCode="General">
                  <c:v>2.6</c:v>
                </c:pt>
                <c:pt idx="163" formatCode="General">
                  <c:v>2.6</c:v>
                </c:pt>
                <c:pt idx="164" formatCode="General">
                  <c:v>2.2999999999999998</c:v>
                </c:pt>
                <c:pt idx="165" formatCode="General">
                  <c:v>2.2999999999999998</c:v>
                </c:pt>
                <c:pt idx="166" formatCode="General">
                  <c:v>2.2999999999999998</c:v>
                </c:pt>
                <c:pt idx="167" formatCode="General">
                  <c:v>2.2999999999999998</c:v>
                </c:pt>
                <c:pt idx="168" formatCode="0.0">
                  <c:v>2</c:v>
                </c:pt>
                <c:pt idx="169" formatCode="0.0">
                  <c:v>2</c:v>
                </c:pt>
                <c:pt idx="170" formatCode="0.0">
                  <c:v>2</c:v>
                </c:pt>
                <c:pt idx="171" formatCode="0.0">
                  <c:v>2</c:v>
                </c:pt>
                <c:pt idx="172" formatCode="0.0">
                  <c:v>2</c:v>
                </c:pt>
                <c:pt idx="173" formatCode="0.0">
                  <c:v>2.1</c:v>
                </c:pt>
                <c:pt idx="174" formatCode="0.0">
                  <c:v>2.1</c:v>
                </c:pt>
                <c:pt idx="175" formatCode="0.0">
                  <c:v>2.1</c:v>
                </c:pt>
                <c:pt idx="176" formatCode="0.0">
                  <c:v>2.1</c:v>
                </c:pt>
                <c:pt idx="177" formatCode="0.0">
                  <c:v>1.2</c:v>
                </c:pt>
                <c:pt idx="178" formatCode="0.0">
                  <c:v>1.2</c:v>
                </c:pt>
                <c:pt idx="179" formatCode="0.0">
                  <c:v>1.2</c:v>
                </c:pt>
                <c:pt idx="180" formatCode="0.0">
                  <c:v>1.2</c:v>
                </c:pt>
                <c:pt idx="181" formatCode="0.0">
                  <c:v>2</c:v>
                </c:pt>
                <c:pt idx="182" formatCode="0.0">
                  <c:v>2</c:v>
                </c:pt>
                <c:pt idx="183" formatCode="0.0">
                  <c:v>2</c:v>
                </c:pt>
                <c:pt idx="184" formatCode="0.0">
                  <c:v>2</c:v>
                </c:pt>
                <c:pt idx="185" formatCode="0.0">
                  <c:v>2</c:v>
                </c:pt>
                <c:pt idx="186" formatCode="0.0">
                  <c:v>1.5</c:v>
                </c:pt>
                <c:pt idx="187" formatCode="0.0">
                  <c:v>1.5</c:v>
                </c:pt>
                <c:pt idx="188" formatCode="0.0">
                  <c:v>1.5</c:v>
                </c:pt>
                <c:pt idx="189" formatCode="0.0">
                  <c:v>1.5</c:v>
                </c:pt>
                <c:pt idx="190" formatCode="0.0">
                  <c:v>2.1</c:v>
                </c:pt>
                <c:pt idx="191" formatCode="0.0">
                  <c:v>2.1</c:v>
                </c:pt>
                <c:pt idx="192" formatCode="0.0">
                  <c:v>2.1</c:v>
                </c:pt>
                <c:pt idx="193" formatCode="0.0">
                  <c:v>2.1</c:v>
                </c:pt>
                <c:pt idx="194" formatCode="0.0">
                  <c:v>2.1</c:v>
                </c:pt>
                <c:pt idx="195" formatCode="0.0">
                  <c:v>1.8</c:v>
                </c:pt>
                <c:pt idx="196" formatCode="0.0">
                  <c:v>1.8</c:v>
                </c:pt>
                <c:pt idx="197" formatCode="0.0">
                  <c:v>1.8</c:v>
                </c:pt>
                <c:pt idx="198" formatCode="0.0">
                  <c:v>1.8</c:v>
                </c:pt>
                <c:pt idx="199" formatCode="0.0">
                  <c:v>2.4</c:v>
                </c:pt>
                <c:pt idx="200" formatCode="0.0">
                  <c:v>2.4</c:v>
                </c:pt>
                <c:pt idx="201" formatCode="0.0">
                  <c:v>2.4</c:v>
                </c:pt>
                <c:pt idx="202" formatCode="0.0">
                  <c:v>2.4</c:v>
                </c:pt>
                <c:pt idx="203" formatCode="0.0">
                  <c:v>1.8</c:v>
                </c:pt>
                <c:pt idx="204" formatCode="0.0">
                  <c:v>1.8</c:v>
                </c:pt>
                <c:pt idx="205" formatCode="0.0">
                  <c:v>1.8</c:v>
                </c:pt>
                <c:pt idx="206" formatCode="0.0">
                  <c:v>1.8</c:v>
                </c:pt>
                <c:pt idx="207" formatCode="0.0">
                  <c:v>1.8</c:v>
                </c:pt>
                <c:pt idx="208" formatCode="0.0">
                  <c:v>0.1</c:v>
                </c:pt>
                <c:pt idx="209" formatCode="0.0">
                  <c:v>0.1</c:v>
                </c:pt>
                <c:pt idx="210" formatCode="0.0">
                  <c:v>0.1</c:v>
                </c:pt>
                <c:pt idx="211" formatCode="0.0">
                  <c:v>0.1</c:v>
                </c:pt>
                <c:pt idx="212" formatCode="0.0">
                  <c:v>0.8</c:v>
                </c:pt>
                <c:pt idx="213" formatCode="0.0">
                  <c:v>0.8</c:v>
                </c:pt>
                <c:pt idx="214" formatCode="0.0">
                  <c:v>0.8</c:v>
                </c:pt>
                <c:pt idx="215" formatCode="0.0">
                  <c:v>0.8</c:v>
                </c:pt>
                <c:pt idx="216" formatCode="0.0">
                  <c:v>1.8</c:v>
                </c:pt>
                <c:pt idx="217" formatCode="0.0">
                  <c:v>1.8</c:v>
                </c:pt>
                <c:pt idx="218" formatCode="0.0">
                  <c:v>1.8</c:v>
                </c:pt>
                <c:pt idx="219" formatCode="0.0">
                  <c:v>1.8</c:v>
                </c:pt>
                <c:pt idx="220" formatCode="0.0">
                  <c:v>1.8</c:v>
                </c:pt>
                <c:pt idx="221" formatCode="0.0">
                  <c:v>1.8</c:v>
                </c:pt>
                <c:pt idx="222" formatCode="0.0">
                  <c:v>1.8</c:v>
                </c:pt>
                <c:pt idx="223" formatCode="0.0">
                  <c:v>1.8</c:v>
                </c:pt>
                <c:pt idx="224" formatCode="0.0">
                  <c:v>1.8</c:v>
                </c:pt>
                <c:pt idx="225" formatCode="0.0">
                  <c:v>1.498335183129873</c:v>
                </c:pt>
                <c:pt idx="226" formatCode="0.0">
                  <c:v>1.498335183129873</c:v>
                </c:pt>
                <c:pt idx="227" formatCode="0.0">
                  <c:v>1.498335183129873</c:v>
                </c:pt>
                <c:pt idx="228" formatCode="0.0">
                  <c:v>1.498335183129873</c:v>
                </c:pt>
                <c:pt idx="229" formatCode="0.0">
                  <c:v>1.8847006651884657</c:v>
                </c:pt>
                <c:pt idx="230" formatCode="0.0">
                  <c:v>1.8847006651884657</c:v>
                </c:pt>
                <c:pt idx="231" formatCode="0.0">
                  <c:v>1.8847006651884657</c:v>
                </c:pt>
                <c:pt idx="232" formatCode="0.0">
                  <c:v>1.8847006651884657</c:v>
                </c:pt>
                <c:pt idx="233" formatCode="0.0">
                  <c:v>1.8847006651884657</c:v>
                </c:pt>
                <c:pt idx="234" formatCode="0.0">
                  <c:v>1.0543840177580588</c:v>
                </c:pt>
                <c:pt idx="235" formatCode="0.0">
                  <c:v>1.0543840177580588</c:v>
                </c:pt>
                <c:pt idx="236" formatCode="0.0">
                  <c:v>1.0543840177580588</c:v>
                </c:pt>
                <c:pt idx="237" formatCode="0.0">
                  <c:v>1.0543840177580588</c:v>
                </c:pt>
                <c:pt idx="238" formatCode="0.0">
                  <c:v>2.1122846025569686</c:v>
                </c:pt>
                <c:pt idx="239" formatCode="0.0">
                  <c:v>2.1122846025569686</c:v>
                </c:pt>
                <c:pt idx="240" formatCode="0.0">
                  <c:v>2.1122846025569686</c:v>
                </c:pt>
                <c:pt idx="241" formatCode="0.0">
                  <c:v>2.1122846025569686</c:v>
                </c:pt>
                <c:pt idx="242" formatCode="0.0">
                  <c:v>1.4356709000552081</c:v>
                </c:pt>
                <c:pt idx="243" formatCode="0.0">
                  <c:v>1.4356709000552081</c:v>
                </c:pt>
                <c:pt idx="244" formatCode="0.0">
                  <c:v>1.4356709000552081</c:v>
                </c:pt>
                <c:pt idx="245" formatCode="0.0">
                  <c:v>1.4356709000552081</c:v>
                </c:pt>
                <c:pt idx="246" formatCode="0.0">
                  <c:v>1.4356709000552081</c:v>
                </c:pt>
                <c:pt idx="247" formatCode="0.0">
                  <c:v>1.3827433628318619</c:v>
                </c:pt>
                <c:pt idx="248" formatCode="0.0">
                  <c:v>1.3827433628318619</c:v>
                </c:pt>
                <c:pt idx="249" formatCode="0.0">
                  <c:v>1.3827433628318619</c:v>
                </c:pt>
                <c:pt idx="250" formatCode="0.0">
                  <c:v>1.3827433628318619</c:v>
                </c:pt>
                <c:pt idx="251" formatCode="0.0">
                  <c:v>1.2721238938053103</c:v>
                </c:pt>
                <c:pt idx="252" formatCode="0.0">
                  <c:v>1.2721238938053103</c:v>
                </c:pt>
                <c:pt idx="253" formatCode="0.0">
                  <c:v>1.2721238938053103</c:v>
                </c:pt>
                <c:pt idx="254" formatCode="0.0">
                  <c:v>1.2721238938053103</c:v>
                </c:pt>
                <c:pt idx="255" formatCode="0.0">
                  <c:v>1.5555555555555545</c:v>
                </c:pt>
                <c:pt idx="256" formatCode="0.0">
                  <c:v>1.5555555555555545</c:v>
                </c:pt>
                <c:pt idx="257" formatCode="0.0">
                  <c:v>1.5555555555555545</c:v>
                </c:pt>
                <c:pt idx="258" formatCode="0.0">
                  <c:v>1.5555555555555545</c:v>
                </c:pt>
                <c:pt idx="259" formatCode="0.0">
                  <c:v>1.5555555555555545</c:v>
                </c:pt>
                <c:pt idx="260" formatCode="0.0">
                  <c:v>2.3385300668151476</c:v>
                </c:pt>
                <c:pt idx="261" formatCode="0.0">
                  <c:v>2.3385300668151476</c:v>
                </c:pt>
                <c:pt idx="262" formatCode="0.0">
                  <c:v>2.3385300668151476</c:v>
                </c:pt>
                <c:pt idx="263" formatCode="0.0">
                  <c:v>2.3385300668151476</c:v>
                </c:pt>
                <c:pt idx="264" formatCode="0.0">
                  <c:v>1.4356709000552081</c:v>
                </c:pt>
                <c:pt idx="265" formatCode="0.0">
                  <c:v>1.4356709000552081</c:v>
                </c:pt>
                <c:pt idx="266" formatCode="0.0">
                  <c:v>1.4356709000552081</c:v>
                </c:pt>
                <c:pt idx="267" formatCode="0.0">
                  <c:v>1.4356709000552081</c:v>
                </c:pt>
                <c:pt idx="268" formatCode="0.0">
                  <c:v>0.60307017543859143</c:v>
                </c:pt>
                <c:pt idx="269" formatCode="0.0">
                  <c:v>0.60307017543859143</c:v>
                </c:pt>
                <c:pt idx="270" formatCode="0.0">
                  <c:v>0.60307017543859143</c:v>
                </c:pt>
                <c:pt idx="271" formatCode="0.0">
                  <c:v>0.60307017543859143</c:v>
                </c:pt>
                <c:pt idx="272" formatCode="0.0">
                  <c:v>0.60307017543859143</c:v>
                </c:pt>
                <c:pt idx="273" formatCode="0.0">
                  <c:v>0.4362050163576825</c:v>
                </c:pt>
                <c:pt idx="274" formatCode="0.0">
                  <c:v>0.4362050163576825</c:v>
                </c:pt>
                <c:pt idx="275" formatCode="0.0">
                  <c:v>0.4362050163576825</c:v>
                </c:pt>
                <c:pt idx="276" formatCode="0.0">
                  <c:v>0.4362050163576825</c:v>
                </c:pt>
                <c:pt idx="277" formatCode="0.0">
                  <c:v>0.76544559868780837</c:v>
                </c:pt>
                <c:pt idx="278" formatCode="0.0">
                  <c:v>0.76544559868780837</c:v>
                </c:pt>
                <c:pt idx="279" formatCode="0.0">
                  <c:v>0.76544559868780837</c:v>
                </c:pt>
                <c:pt idx="280" formatCode="0.0">
                  <c:v>0.76544559868780837</c:v>
                </c:pt>
                <c:pt idx="281" formatCode="0.0">
                  <c:v>0.76544559868780837</c:v>
                </c:pt>
                <c:pt idx="282" formatCode="0.0">
                  <c:v>0.32644178454841466</c:v>
                </c:pt>
                <c:pt idx="283" formatCode="0.0">
                  <c:v>0.32644178454841466</c:v>
                </c:pt>
                <c:pt idx="284" formatCode="0.0">
                  <c:v>0.32644178454841466</c:v>
                </c:pt>
                <c:pt idx="285" formatCode="0.0">
                  <c:v>0.32644178454841466</c:v>
                </c:pt>
                <c:pt idx="286" formatCode="0.0">
                  <c:v>1.2081274025260935</c:v>
                </c:pt>
                <c:pt idx="287" formatCode="0.0">
                  <c:v>1.2081274025260935</c:v>
                </c:pt>
                <c:pt idx="288" formatCode="0.0">
                  <c:v>1.2081274025260935</c:v>
                </c:pt>
                <c:pt idx="289" formatCode="0.0">
                  <c:v>1.2081274025260935</c:v>
                </c:pt>
                <c:pt idx="290" formatCode="0.0">
                  <c:v>1.1976047904191711</c:v>
                </c:pt>
                <c:pt idx="291" formatCode="0.0">
                  <c:v>1.1976047904191711</c:v>
                </c:pt>
                <c:pt idx="292" formatCode="0.0">
                  <c:v>1.1976047904191711</c:v>
                </c:pt>
                <c:pt idx="293" formatCode="0.0">
                  <c:v>1.1976047904191711</c:v>
                </c:pt>
                <c:pt idx="294" formatCode="0.0">
                  <c:v>1.1976047904191711</c:v>
                </c:pt>
                <c:pt idx="295" formatCode="0.0">
                  <c:v>0.59880239520959666</c:v>
                </c:pt>
                <c:pt idx="296" formatCode="0.0">
                  <c:v>0.59880239520959666</c:v>
                </c:pt>
                <c:pt idx="297" formatCode="0.0">
                  <c:v>0.59880239520959666</c:v>
                </c:pt>
                <c:pt idx="298" formatCode="0.0">
                  <c:v>0.59880239520959666</c:v>
                </c:pt>
                <c:pt idx="299" formatCode="0.0">
                  <c:v>1.5275504637206616</c:v>
                </c:pt>
                <c:pt idx="300" formatCode="0.0">
                  <c:v>1.5275504637206616</c:v>
                </c:pt>
                <c:pt idx="301" formatCode="0.0">
                  <c:v>1.5275504637206616</c:v>
                </c:pt>
                <c:pt idx="302" formatCode="0.0">
                  <c:v>1.5275504637206616</c:v>
                </c:pt>
                <c:pt idx="303" formatCode="0.0">
                  <c:v>1.5292190060076427</c:v>
                </c:pt>
                <c:pt idx="304" formatCode="0.0">
                  <c:v>1.5292190060076427</c:v>
                </c:pt>
                <c:pt idx="305" formatCode="0.0">
                  <c:v>1.5292190060076427</c:v>
                </c:pt>
                <c:pt idx="306" formatCode="0.0">
                  <c:v>1.5292190060076427</c:v>
                </c:pt>
                <c:pt idx="307" formatCode="0.0">
                  <c:v>1.5292190060076427</c:v>
                </c:pt>
                <c:pt idx="308" formatCode="0.0">
                  <c:v>1.5317286652078765</c:v>
                </c:pt>
                <c:pt idx="309" formatCode="0.0">
                  <c:v>1.5317286652078765</c:v>
                </c:pt>
                <c:pt idx="310" formatCode="0.0">
                  <c:v>1.5317286652078765</c:v>
                </c:pt>
                <c:pt idx="311" formatCode="0.0">
                  <c:v>1.5317286652078765</c:v>
                </c:pt>
                <c:pt idx="312" formatCode="0.0">
                  <c:v>2.4483133841131766</c:v>
                </c:pt>
                <c:pt idx="313" formatCode="0.0">
                  <c:v>2.4483133841131766</c:v>
                </c:pt>
                <c:pt idx="314" formatCode="0.0">
                  <c:v>2.4483133841131766</c:v>
                </c:pt>
                <c:pt idx="315" formatCode="0.0">
                  <c:v>2.4483133841131766</c:v>
                </c:pt>
                <c:pt idx="316" formatCode="0.0">
                  <c:v>2.4483133841131766</c:v>
                </c:pt>
                <c:pt idx="317" formatCode="0.0">
                  <c:v>3.211758301578671</c:v>
                </c:pt>
                <c:pt idx="318" formatCode="0.0">
                  <c:v>3.211758301578671</c:v>
                </c:pt>
                <c:pt idx="319" formatCode="0.0">
                  <c:v>3.2117583015786701</c:v>
                </c:pt>
                <c:pt idx="320" formatCode="0.0">
                  <c:v>3.2117583015786701</c:v>
                </c:pt>
                <c:pt idx="321" formatCode="0.0">
                  <c:v>3.5422343324250649</c:v>
                </c:pt>
                <c:pt idx="322" formatCode="0.0">
                  <c:v>3.5422343324250649</c:v>
                </c:pt>
                <c:pt idx="323" formatCode="0.0">
                  <c:v>3.54223433242506</c:v>
                </c:pt>
                <c:pt idx="324" formatCode="0.0">
                  <c:v>3.54223433242506</c:v>
                </c:pt>
                <c:pt idx="325" formatCode="0.0">
                  <c:v>3.9630836047774176</c:v>
                </c:pt>
                <c:pt idx="326" formatCode="0.0">
                  <c:v>3.9630836047774176</c:v>
                </c:pt>
                <c:pt idx="327" formatCode="0.0">
                  <c:v>3.9630836047774198</c:v>
                </c:pt>
                <c:pt idx="328" formatCode="0.0">
                  <c:v>3.9630836047774198</c:v>
                </c:pt>
                <c:pt idx="329" formatCode="0.0">
                  <c:v>3.4183396635919516</c:v>
                </c:pt>
                <c:pt idx="330" formatCode="0.0">
                  <c:v>3.4183396635919516</c:v>
                </c:pt>
                <c:pt idx="331" formatCode="0.0">
                  <c:v>3.4183396635919499</c:v>
                </c:pt>
                <c:pt idx="332" formatCode="0.0">
                  <c:v>3.4183396635919499</c:v>
                </c:pt>
                <c:pt idx="333" formatCode="0.0">
                  <c:v>3.4183396635919499</c:v>
                </c:pt>
                <c:pt idx="334" formatCode="0.0">
                  <c:v>3.579175704989157</c:v>
                </c:pt>
                <c:pt idx="335" formatCode="0.0">
                  <c:v>3.579175704989157</c:v>
                </c:pt>
                <c:pt idx="336" formatCode="0.0">
                  <c:v>3.579175704989157</c:v>
                </c:pt>
                <c:pt idx="337" formatCode="0.0">
                  <c:v>3.579175704989157</c:v>
                </c:pt>
                <c:pt idx="338" formatCode="0.0">
                  <c:v>3.2013022246337286</c:v>
                </c:pt>
                <c:pt idx="339" formatCode="0.0">
                  <c:v>3.2013022246337286</c:v>
                </c:pt>
                <c:pt idx="340" formatCode="0.0">
                  <c:v>3.2013022246337286</c:v>
                </c:pt>
                <c:pt idx="341" formatCode="0.0">
                  <c:v>3.2013022246337286</c:v>
                </c:pt>
                <c:pt idx="342" formatCode="0.0">
                  <c:v>2.5</c:v>
                </c:pt>
                <c:pt idx="343" formatCode="0.0">
                  <c:v>2.5</c:v>
                </c:pt>
                <c:pt idx="344" formatCode="0.0">
                  <c:v>2.5</c:v>
                </c:pt>
                <c:pt idx="345" formatCode="0.0">
                  <c:v>2.5</c:v>
                </c:pt>
                <c:pt idx="346" formatCode="0.0">
                  <c:v>2.5</c:v>
                </c:pt>
                <c:pt idx="347" formatCode="0.0">
                  <c:v>3.1926406926406692</c:v>
                </c:pt>
                <c:pt idx="348" formatCode="0.0">
                  <c:v>3.1926406926406692</c:v>
                </c:pt>
                <c:pt idx="349" formatCode="0.0">
                  <c:v>3.1926406926406692</c:v>
                </c:pt>
                <c:pt idx="350" formatCode="0.0">
                  <c:v>3.1926406926406692</c:v>
                </c:pt>
                <c:pt idx="351" formatCode="0.0">
                  <c:v>2.7404621171413179</c:v>
                </c:pt>
                <c:pt idx="352" formatCode="0.0">
                  <c:v>2.7404621171413179</c:v>
                </c:pt>
                <c:pt idx="353" formatCode="0.0">
                  <c:v>2.7404621171413179</c:v>
                </c:pt>
                <c:pt idx="354" formatCode="0.0">
                  <c:v>2.7404621171413179</c:v>
                </c:pt>
                <c:pt idx="355" formatCode="0.0">
                  <c:v>2.7404621171413179</c:v>
                </c:pt>
                <c:pt idx="356" formatCode="0.0">
                  <c:v>2.7972027972027913</c:v>
                </c:pt>
                <c:pt idx="357" formatCode="0.0">
                  <c:v>2.7972027972027913</c:v>
                </c:pt>
                <c:pt idx="358" formatCode="0.0">
                  <c:v>2.7972027972027913</c:v>
                </c:pt>
                <c:pt idx="359" formatCode="0.0">
                  <c:v>2.7972027972027913</c:v>
                </c:pt>
                <c:pt idx="360" formatCode="0.0">
                  <c:v>3.0172413793103425</c:v>
                </c:pt>
                <c:pt idx="361" formatCode="0.0">
                  <c:v>3.0172413793103425</c:v>
                </c:pt>
                <c:pt idx="362" formatCode="0.0">
                  <c:v>3.0172413793103425</c:v>
                </c:pt>
                <c:pt idx="363" formatCode="0.0">
                  <c:v>3.0172413793103425</c:v>
                </c:pt>
                <c:pt idx="364" formatCode="0.0">
                  <c:v>1.8587360594795488</c:v>
                </c:pt>
                <c:pt idx="365" formatCode="0.0">
                  <c:v>1.8587360594795488</c:v>
                </c:pt>
                <c:pt idx="366" formatCode="0.0">
                  <c:v>1.8587360594795488</c:v>
                </c:pt>
                <c:pt idx="367" formatCode="0.0">
                  <c:v>1.8587360594795488</c:v>
                </c:pt>
                <c:pt idx="368" formatCode="0.0">
                  <c:v>1.8587360594795488</c:v>
                </c:pt>
                <c:pt idx="369" formatCode="General">
                  <c:v>1.5</c:v>
                </c:pt>
                <c:pt idx="370" formatCode="General">
                  <c:v>1.5</c:v>
                </c:pt>
                <c:pt idx="371" formatCode="General">
                  <c:v>1.5</c:v>
                </c:pt>
                <c:pt idx="372" formatCode="General">
                  <c:v>1.5</c:v>
                </c:pt>
                <c:pt idx="373" formatCode="General">
                  <c:v>1.4</c:v>
                </c:pt>
                <c:pt idx="374" formatCode="General">
                  <c:v>1.4</c:v>
                </c:pt>
                <c:pt idx="375" formatCode="General">
                  <c:v>1.4</c:v>
                </c:pt>
                <c:pt idx="376" formatCode="General">
                  <c:v>1.4</c:v>
                </c:pt>
                <c:pt idx="377" formatCode="General">
                  <c:v>1</c:v>
                </c:pt>
                <c:pt idx="378" formatCode="General">
                  <c:v>1</c:v>
                </c:pt>
                <c:pt idx="379" formatCode="General">
                  <c:v>1</c:v>
                </c:pt>
                <c:pt idx="380" formatCode="General">
                  <c:v>1</c:v>
                </c:pt>
                <c:pt idx="381" formatCode="General">
                  <c:v>2.2000000000000002</c:v>
                </c:pt>
                <c:pt idx="382" formatCode="General">
                  <c:v>2.2000000000000002</c:v>
                </c:pt>
                <c:pt idx="383" formatCode="General">
                  <c:v>2.2000000000000002</c:v>
                </c:pt>
                <c:pt idx="384" formatCode="General">
                  <c:v>2.2000000000000002</c:v>
                </c:pt>
                <c:pt idx="385" formatCode="General">
                  <c:v>2.2000000000000002</c:v>
                </c:pt>
                <c:pt idx="386" formatCode="General">
                  <c:v>2.2999999999999998</c:v>
                </c:pt>
                <c:pt idx="387" formatCode="General">
                  <c:v>2.2999999999999998</c:v>
                </c:pt>
                <c:pt idx="388" formatCode="General">
                  <c:v>2.2999999999999998</c:v>
                </c:pt>
                <c:pt idx="389" formatCode="General">
                  <c:v>2.2999999999999998</c:v>
                </c:pt>
                <c:pt idx="390" formatCode="General">
                  <c:v>2.4</c:v>
                </c:pt>
                <c:pt idx="391" formatCode="General">
                  <c:v>2.4</c:v>
                </c:pt>
                <c:pt idx="392" formatCode="General">
                  <c:v>2.4</c:v>
                </c:pt>
                <c:pt idx="393" formatCode="General">
                  <c:v>2.4</c:v>
                </c:pt>
                <c:pt idx="394" formatCode="General">
                  <c:v>2.4</c:v>
                </c:pt>
                <c:pt idx="395" formatCode="General">
                  <c:v>2.6</c:v>
                </c:pt>
                <c:pt idx="396" formatCode="General">
                  <c:v>2.6</c:v>
                </c:pt>
                <c:pt idx="397" formatCode="General">
                  <c:v>2.6</c:v>
                </c:pt>
                <c:pt idx="398" formatCode="General">
                  <c:v>2.6</c:v>
                </c:pt>
                <c:pt idx="399" formatCode="0.0">
                  <c:v>2.1499737808075681</c:v>
                </c:pt>
                <c:pt idx="400" formatCode="0.0">
                  <c:v>2.1499737808075681</c:v>
                </c:pt>
                <c:pt idx="401" formatCode="0.0">
                  <c:v>2.1499737808075681</c:v>
                </c:pt>
                <c:pt idx="402" formatCode="0.0">
                  <c:v>2.1499737808075681</c:v>
                </c:pt>
                <c:pt idx="403" formatCode="0.0">
                  <c:v>2.1966527196652708</c:v>
                </c:pt>
                <c:pt idx="404" formatCode="0.0">
                  <c:v>2.1966527196652708</c:v>
                </c:pt>
                <c:pt idx="405" formatCode="0.0">
                  <c:v>2.1966527196652708</c:v>
                </c:pt>
                <c:pt idx="406" formatCode="0.0">
                  <c:v>2.1966527196652708</c:v>
                </c:pt>
                <c:pt idx="407" formatCode="0.0">
                  <c:v>2.1966527196652708</c:v>
                </c:pt>
                <c:pt idx="408" formatCode="General">
                  <c:v>1.9</c:v>
                </c:pt>
                <c:pt idx="409" formatCode="General">
                  <c:v>1.9</c:v>
                </c:pt>
                <c:pt idx="410" formatCode="General">
                  <c:v>1.9</c:v>
                </c:pt>
                <c:pt idx="411" formatCode="General">
                  <c:v>1.9</c:v>
                </c:pt>
                <c:pt idx="412" formatCode="0.0">
                  <c:v>1.9874476987447709</c:v>
                </c:pt>
                <c:pt idx="413" formatCode="0.0">
                  <c:v>1.9874476987447709</c:v>
                </c:pt>
                <c:pt idx="414" formatCode="0.0">
                  <c:v>1.9874476987447709</c:v>
                </c:pt>
                <c:pt idx="415" formatCode="0.0">
                  <c:v>1.9874476987447709</c:v>
                </c:pt>
                <c:pt idx="416" formatCode="0.0">
                  <c:v>2.0333680917622443</c:v>
                </c:pt>
                <c:pt idx="417" formatCode="0.0">
                  <c:v>2.0333680917622443</c:v>
                </c:pt>
                <c:pt idx="418" formatCode="0.0">
                  <c:v>2.0333680917622443</c:v>
                </c:pt>
                <c:pt idx="419" formatCode="0.0">
                  <c:v>2.0333680917622443</c:v>
                </c:pt>
                <c:pt idx="420" formatCode="0.0">
                  <c:v>2.0333680917622443</c:v>
                </c:pt>
                <c:pt idx="421" formatCode="General">
                  <c:v>2.4</c:v>
                </c:pt>
                <c:pt idx="422" formatCode="General">
                  <c:v>2.4</c:v>
                </c:pt>
                <c:pt idx="423" formatCode="General">
                  <c:v>2.4</c:v>
                </c:pt>
                <c:pt idx="424" formatCode="General">
                  <c:v>2.4</c:v>
                </c:pt>
                <c:pt idx="425" formatCode="General">
                  <c:v>2.8</c:v>
                </c:pt>
                <c:pt idx="426" formatCode="General">
                  <c:v>2.8</c:v>
                </c:pt>
                <c:pt idx="427" formatCode="General">
                  <c:v>2.8</c:v>
                </c:pt>
                <c:pt idx="428" formatCode="General">
                  <c:v>2.8</c:v>
                </c:pt>
                <c:pt idx="429" formatCode="General">
                  <c:v>3</c:v>
                </c:pt>
                <c:pt idx="430" formatCode="General">
                  <c:v>3</c:v>
                </c:pt>
                <c:pt idx="431" formatCode="General">
                  <c:v>3</c:v>
                </c:pt>
                <c:pt idx="432" formatCode="General">
                  <c:v>3</c:v>
                </c:pt>
                <c:pt idx="433" formatCode="General">
                  <c:v>3</c:v>
                </c:pt>
                <c:pt idx="434" formatCode="General">
                  <c:v>2.2000000000000002</c:v>
                </c:pt>
                <c:pt idx="435" formatCode="General">
                  <c:v>2.2000000000000002</c:v>
                </c:pt>
                <c:pt idx="436" formatCode="General">
                  <c:v>2.2000000000000002</c:v>
                </c:pt>
                <c:pt idx="437" formatCode="General">
                  <c:v>2.2000000000000002</c:v>
                </c:pt>
                <c:pt idx="438" formatCode="0.0">
                  <c:v>1.535312180143289</c:v>
                </c:pt>
                <c:pt idx="439" formatCode="0.0">
                  <c:v>1.535312180143289</c:v>
                </c:pt>
                <c:pt idx="440" formatCode="0.0">
                  <c:v>1.535312180143289</c:v>
                </c:pt>
                <c:pt idx="441" formatCode="0.0">
                  <c:v>1.535312180143289</c:v>
                </c:pt>
                <c:pt idx="442" formatCode="0.0">
                  <c:v>1.5913757700205311</c:v>
                </c:pt>
                <c:pt idx="443" formatCode="0.0">
                  <c:v>1.5913757700205311</c:v>
                </c:pt>
                <c:pt idx="444" formatCode="0.0">
                  <c:v>1.5913757700205311</c:v>
                </c:pt>
                <c:pt idx="445" formatCode="0.0">
                  <c:v>1.5913757700205311</c:v>
                </c:pt>
                <c:pt idx="446" formatCode="0.0">
                  <c:v>1.5913757700205311</c:v>
                </c:pt>
                <c:pt idx="447" formatCode="0.0">
                  <c:v>1.3</c:v>
                </c:pt>
                <c:pt idx="448" formatCode="0.0">
                  <c:v>1.3</c:v>
                </c:pt>
                <c:pt idx="449" formatCode="0.0">
                  <c:v>1.3</c:v>
                </c:pt>
                <c:pt idx="450" formatCode="0.0">
                  <c:v>1.3</c:v>
                </c:pt>
                <c:pt idx="451" formatCode="0.0">
                  <c:v>1.1293634496919891</c:v>
                </c:pt>
                <c:pt idx="452" formatCode="0.0">
                  <c:v>1.1293634496919891</c:v>
                </c:pt>
                <c:pt idx="453" formatCode="0.0">
                  <c:v>1.1293634496919891</c:v>
                </c:pt>
                <c:pt idx="454" formatCode="0.0">
                  <c:v>1.1293634496919891</c:v>
                </c:pt>
                <c:pt idx="455" formatCode="0.0">
                  <c:v>0.97236438075742893</c:v>
                </c:pt>
                <c:pt idx="456" formatCode="0.0">
                  <c:v>0.97236438075742893</c:v>
                </c:pt>
                <c:pt idx="457" formatCode="0.0">
                  <c:v>0.97236438075742893</c:v>
                </c:pt>
                <c:pt idx="458" formatCode="0.0">
                  <c:v>0.97236438075742893</c:v>
                </c:pt>
                <c:pt idx="459" formatCode="0.0">
                  <c:v>0.97236438075742893</c:v>
                </c:pt>
                <c:pt idx="460" formatCode="0.0">
                  <c:v>1.4373716632443356</c:v>
                </c:pt>
                <c:pt idx="461" formatCode="0.0">
                  <c:v>1.4373716632443356</c:v>
                </c:pt>
                <c:pt idx="462" formatCode="0.0">
                  <c:v>1.4373716632443356</c:v>
                </c:pt>
                <c:pt idx="463" formatCode="0.0">
                  <c:v>1.4373716632443356</c:v>
                </c:pt>
                <c:pt idx="464" formatCode="0.0">
                  <c:v>1.8461538461538529</c:v>
                </c:pt>
                <c:pt idx="465" formatCode="0.0">
                  <c:v>1.8461538461538529</c:v>
                </c:pt>
                <c:pt idx="466" formatCode="0.0">
                  <c:v>1.8461538461538529</c:v>
                </c:pt>
                <c:pt idx="467" formatCode="0.0">
                  <c:v>1.8461538461538529</c:v>
                </c:pt>
                <c:pt idx="468" formatCode="0.0">
                  <c:v>1.8461538461538529</c:v>
                </c:pt>
                <c:pt idx="469" formatCode="0.0">
                  <c:v>2.0439448134900395</c:v>
                </c:pt>
                <c:pt idx="470" formatCode="0.0">
                  <c:v>2.0439448134900395</c:v>
                </c:pt>
                <c:pt idx="471" formatCode="0.0">
                  <c:v>2.0439448134900395</c:v>
                </c:pt>
                <c:pt idx="472" formatCode="0.0">
                  <c:v>2.0439448134900395</c:v>
                </c:pt>
                <c:pt idx="473" formatCode="0.0">
                  <c:v>1.9279553526128979</c:v>
                </c:pt>
                <c:pt idx="474" formatCode="0.0">
                  <c:v>1.9279553526128979</c:v>
                </c:pt>
                <c:pt idx="475" formatCode="0.0">
                  <c:v>1.9279553526128979</c:v>
                </c:pt>
                <c:pt idx="476" formatCode="0.0">
                  <c:v>1.9279553526128979</c:v>
                </c:pt>
                <c:pt idx="477" formatCode="0.0">
                  <c:v>1.3636363636363669</c:v>
                </c:pt>
                <c:pt idx="478" formatCode="0.0">
                  <c:v>1.3636363636363669</c:v>
                </c:pt>
                <c:pt idx="479" formatCode="0.0">
                  <c:v>1.3636363636363669</c:v>
                </c:pt>
                <c:pt idx="480" formatCode="0.0">
                  <c:v>1.3636363636363669</c:v>
                </c:pt>
                <c:pt idx="481" formatCode="0.0">
                  <c:v>1.3636363636363669</c:v>
                </c:pt>
                <c:pt idx="482" formatCode="General">
                  <c:v>0.7</c:v>
                </c:pt>
                <c:pt idx="483" formatCode="General">
                  <c:v>0.7</c:v>
                </c:pt>
                <c:pt idx="484" formatCode="General">
                  <c:v>0.7</c:v>
                </c:pt>
                <c:pt idx="485" formatCode="General">
                  <c:v>0.7</c:v>
                </c:pt>
                <c:pt idx="486" formatCode="0.0">
                  <c:v>0.70387129210658372</c:v>
                </c:pt>
                <c:pt idx="487" formatCode="0.0">
                  <c:v>0.70387129210658372</c:v>
                </c:pt>
                <c:pt idx="488" formatCode="0.0">
                  <c:v>0.70387129210658372</c:v>
                </c:pt>
                <c:pt idx="489" formatCode="0.0">
                  <c:v>0.70387129210658372</c:v>
                </c:pt>
                <c:pt idx="490" formatCode="0.0">
                  <c:v>1.5625</c:v>
                </c:pt>
                <c:pt idx="491" formatCode="0.0">
                  <c:v>1.5625</c:v>
                </c:pt>
                <c:pt idx="492" formatCode="0.0">
                  <c:v>1.5625</c:v>
                </c:pt>
                <c:pt idx="493" formatCode="0.0">
                  <c:v>1.5625</c:v>
                </c:pt>
                <c:pt idx="494" formatCode="0.0">
                  <c:v>1.5625</c:v>
                </c:pt>
                <c:pt idx="495" formatCode="0.0">
                  <c:v>2.0212228398180931</c:v>
                </c:pt>
                <c:pt idx="496" formatCode="0.0">
                  <c:v>2.0212228398180931</c:v>
                </c:pt>
                <c:pt idx="497" formatCode="0.0">
                  <c:v>2.0212228398180931</c:v>
                </c:pt>
                <c:pt idx="498" formatCode="0.0">
                  <c:v>2.0212228398180931</c:v>
                </c:pt>
                <c:pt idx="499" formatCode="0.0">
                  <c:v>1.9201616978271829</c:v>
                </c:pt>
                <c:pt idx="500" formatCode="0.0">
                  <c:v>1.9201616978271829</c:v>
                </c:pt>
                <c:pt idx="501" formatCode="0.0">
                  <c:v>1.9201616978271829</c:v>
                </c:pt>
                <c:pt idx="502" formatCode="0.0">
                  <c:v>1.9201616978271829</c:v>
                </c:pt>
                <c:pt idx="503" formatCode="0.0">
                  <c:v>1.8781725888324718</c:v>
                </c:pt>
                <c:pt idx="504" formatCode="0.0">
                  <c:v>1.8781725888324718</c:v>
                </c:pt>
                <c:pt idx="505" formatCode="0.0">
                  <c:v>1.8781725888324718</c:v>
                </c:pt>
                <c:pt idx="506" formatCode="0.0">
                  <c:v>1.8781725888324718</c:v>
                </c:pt>
                <c:pt idx="507" formatCode="0.0">
                  <c:v>1.8781725888324718</c:v>
                </c:pt>
                <c:pt idx="508" formatCode="0.0">
                  <c:v>1.8246325392802909</c:v>
                </c:pt>
                <c:pt idx="509" formatCode="0.0">
                  <c:v>1.8246325392802909</c:v>
                </c:pt>
                <c:pt idx="510" formatCode="0.0">
                  <c:v>1.8246325392802909</c:v>
                </c:pt>
                <c:pt idx="511" formatCode="0.0">
                  <c:v>1.8246325392802909</c:v>
                </c:pt>
                <c:pt idx="512" formatCode="0.0">
                  <c:v>1.7206477732793601</c:v>
                </c:pt>
                <c:pt idx="513" formatCode="0.0">
                  <c:v>1.7206477732793601</c:v>
                </c:pt>
                <c:pt idx="514" formatCode="0.0">
                  <c:v>1.7206477732793601</c:v>
                </c:pt>
                <c:pt idx="515" formatCode="0.0">
                  <c:v>1.7206477732793601</c:v>
                </c:pt>
                <c:pt idx="516" formatCode="0.0">
                  <c:v>1.2588116817723982</c:v>
                </c:pt>
                <c:pt idx="517" formatCode="0.0">
                  <c:v>1.2588116817723982</c:v>
                </c:pt>
                <c:pt idx="518" formatCode="0.0">
                  <c:v>1.2588116817723982</c:v>
                </c:pt>
                <c:pt idx="519" formatCode="0.0">
                  <c:v>1.2588116817723982</c:v>
                </c:pt>
                <c:pt idx="520" formatCode="0.0">
                  <c:v>1.2588116817723982</c:v>
                </c:pt>
                <c:pt idx="521" formatCode="0.0">
                  <c:v>1.1517275913870861</c:v>
                </c:pt>
                <c:pt idx="522" formatCode="0.0">
                  <c:v>1.1517275913870861</c:v>
                </c:pt>
                <c:pt idx="523" formatCode="0.0">
                  <c:v>1.1517275913870861</c:v>
                </c:pt>
                <c:pt idx="524" formatCode="0.0">
                  <c:v>1.1517275913870861</c:v>
                </c:pt>
                <c:pt idx="525" formatCode="0.0">
                  <c:v>1.1946241911398703</c:v>
                </c:pt>
                <c:pt idx="526" formatCode="0.0">
                  <c:v>1.1946241911398703</c:v>
                </c:pt>
                <c:pt idx="527" formatCode="0.0">
                  <c:v>1.1946241911398703</c:v>
                </c:pt>
                <c:pt idx="528" formatCode="0.0">
                  <c:v>1.1946241911398703</c:v>
                </c:pt>
                <c:pt idx="529" formatCode="0.0">
                  <c:v>1.7937219730941756</c:v>
                </c:pt>
                <c:pt idx="530" formatCode="0.0">
                  <c:v>1.7937219730941756</c:v>
                </c:pt>
                <c:pt idx="531" formatCode="0.0">
                  <c:v>1.7937219730941756</c:v>
                </c:pt>
                <c:pt idx="532" formatCode="0.0">
                  <c:v>1.7937219730941756</c:v>
                </c:pt>
                <c:pt idx="533" formatCode="0.0">
                  <c:v>1.7937219730941756</c:v>
                </c:pt>
                <c:pt idx="534" formatCode="0.0">
                  <c:v>2.7888446215139417</c:v>
                </c:pt>
                <c:pt idx="535" formatCode="0.0">
                  <c:v>2.7888446215139417</c:v>
                </c:pt>
                <c:pt idx="536" formatCode="0.0">
                  <c:v>2.7888446215139417</c:v>
                </c:pt>
                <c:pt idx="537" formatCode="0.0">
                  <c:v>2.7888446215139417</c:v>
                </c:pt>
                <c:pt idx="538" formatCode="0.0">
                  <c:v>3.5946080878682007</c:v>
                </c:pt>
                <c:pt idx="539" formatCode="0.0">
                  <c:v>3.5946080878682007</c:v>
                </c:pt>
                <c:pt idx="540" formatCode="0.0">
                  <c:v>3.5946080878682007</c:v>
                </c:pt>
                <c:pt idx="541" formatCode="0.0">
                  <c:v>3.5946080878682007</c:v>
                </c:pt>
                <c:pt idx="542" formatCode="0.0">
                  <c:v>3.2754342431761785</c:v>
                </c:pt>
                <c:pt idx="543" formatCode="0.0">
                  <c:v>3.2754342431761785</c:v>
                </c:pt>
                <c:pt idx="544" formatCode="0.0">
                  <c:v>3.2754342431761785</c:v>
                </c:pt>
                <c:pt idx="545" formatCode="0.0">
                  <c:v>3.2754342431761785</c:v>
                </c:pt>
                <c:pt idx="546" formatCode="0.0">
                  <c:v>3.2754342431761785</c:v>
                </c:pt>
                <c:pt idx="547" formatCode="0.0">
                  <c:v>3.3184744923229204</c:v>
                </c:pt>
                <c:pt idx="548" formatCode="0.0">
                  <c:v>3.3184744923229204</c:v>
                </c:pt>
                <c:pt idx="549" formatCode="0.0">
                  <c:v>3.3184744923229204</c:v>
                </c:pt>
                <c:pt idx="550" formatCode="0.0">
                  <c:v>3.3184744923229204</c:v>
                </c:pt>
                <c:pt idx="551" formatCode="0.0">
                  <c:v>4.3133366385721406</c:v>
                </c:pt>
                <c:pt idx="552" formatCode="0.0">
                  <c:v>4.3133366385721406</c:v>
                </c:pt>
                <c:pt idx="553" formatCode="0.0">
                  <c:v>4.3133366385721406</c:v>
                </c:pt>
                <c:pt idx="554" formatCode="0.0">
                  <c:v>4.3133366385721406</c:v>
                </c:pt>
                <c:pt idx="555" formatCode="0.0">
                  <c:v>4.3133366385721406</c:v>
                </c:pt>
                <c:pt idx="556" formatCode="General">
                  <c:v>5.7</c:v>
                </c:pt>
                <c:pt idx="557" formatCode="General">
                  <c:v>5.7</c:v>
                </c:pt>
                <c:pt idx="558" formatCode="General">
                  <c:v>5.7</c:v>
                </c:pt>
                <c:pt idx="559" formatCode="General">
                  <c:v>5.7</c:v>
                </c:pt>
                <c:pt idx="560" formatCode="General">
                  <c:v>6.6</c:v>
                </c:pt>
                <c:pt idx="561" formatCode="General">
                  <c:v>6.6</c:v>
                </c:pt>
                <c:pt idx="562" formatCode="General">
                  <c:v>6.6</c:v>
                </c:pt>
                <c:pt idx="563" formatCode="General">
                  <c:v>6.6</c:v>
                </c:pt>
                <c:pt idx="564" formatCode="General">
                  <c:v>7.5</c:v>
                </c:pt>
                <c:pt idx="565" formatCode="General">
                  <c:v>7.5</c:v>
                </c:pt>
                <c:pt idx="566" formatCode="General">
                  <c:v>7.5</c:v>
                </c:pt>
                <c:pt idx="567" formatCode="General">
                  <c:v>7.5</c:v>
                </c:pt>
                <c:pt idx="568" formatCode="General">
                  <c:v>7.5</c:v>
                </c:pt>
                <c:pt idx="569" formatCode="General">
                  <c:v>7.9</c:v>
                </c:pt>
                <c:pt idx="570" formatCode="General">
                  <c:v>7.9</c:v>
                </c:pt>
                <c:pt idx="571" formatCode="General">
                  <c:v>7.9</c:v>
                </c:pt>
                <c:pt idx="572" formatCode="General">
                  <c:v>7.9</c:v>
                </c:pt>
                <c:pt idx="573" formatCode="General">
                  <c:v>8.3000000000000007</c:v>
                </c:pt>
                <c:pt idx="574" formatCode="General">
                  <c:v>8.3000000000000007</c:v>
                </c:pt>
                <c:pt idx="575" formatCode="General">
                  <c:v>8.3000000000000007</c:v>
                </c:pt>
                <c:pt idx="576" formatCode="General">
                  <c:v>8.3000000000000007</c:v>
                </c:pt>
                <c:pt idx="577" formatCode="General">
                  <c:v>8.8000000000000007</c:v>
                </c:pt>
                <c:pt idx="578" formatCode="General">
                  <c:v>8.8000000000000007</c:v>
                </c:pt>
                <c:pt idx="579" formatCode="General">
                  <c:v>8.8000000000000007</c:v>
                </c:pt>
                <c:pt idx="580" formatCode="General">
                  <c:v>8.8000000000000007</c:v>
                </c:pt>
                <c:pt idx="581" formatCode="0.0">
                  <c:v>9.104258443465497</c:v>
                </c:pt>
                <c:pt idx="582" formatCode="0.0">
                  <c:v>9.104258443465497</c:v>
                </c:pt>
                <c:pt idx="583" formatCode="0.0">
                  <c:v>9.104258443465497</c:v>
                </c:pt>
                <c:pt idx="584" formatCode="0.0">
                  <c:v>9.104258443465497</c:v>
                </c:pt>
                <c:pt idx="585" formatCode="0.0">
                  <c:v>9.104258443465497</c:v>
                </c:pt>
                <c:pt idx="586" formatCode="0.0">
                  <c:v>9.6414728682170612</c:v>
                </c:pt>
                <c:pt idx="587" formatCode="0.0">
                  <c:v>9.6414728682170612</c:v>
                </c:pt>
                <c:pt idx="588" formatCode="0.0">
                  <c:v>9.6414728682170612</c:v>
                </c:pt>
                <c:pt idx="589" formatCode="0.0">
                  <c:v>9.6414728682170612</c:v>
                </c:pt>
                <c:pt idx="590" formatCode="0.0">
                  <c:v>10.40963855421686</c:v>
                </c:pt>
                <c:pt idx="591" formatCode="0.0">
                  <c:v>10.40963855421686</c:v>
                </c:pt>
                <c:pt idx="592" formatCode="0.0">
                  <c:v>10.40963855421686</c:v>
                </c:pt>
                <c:pt idx="593" formatCode="0.0">
                  <c:v>10.40963855421686</c:v>
                </c:pt>
                <c:pt idx="594" formatCode="0.0">
                  <c:v>10.40963855421686</c:v>
                </c:pt>
                <c:pt idx="595" formatCode="0.0">
                  <c:v>11.869293608841902</c:v>
                </c:pt>
                <c:pt idx="596" formatCode="0.0">
                  <c:v>11.869293608841902</c:v>
                </c:pt>
                <c:pt idx="597" formatCode="0.0">
                  <c:v>11.869293608841902</c:v>
                </c:pt>
                <c:pt idx="598" formatCode="0.0">
                  <c:v>11.869293608841902</c:v>
                </c:pt>
                <c:pt idx="599" formatCode="0.0">
                  <c:v>12.751677852348987</c:v>
                </c:pt>
                <c:pt idx="600" formatCode="0.0">
                  <c:v>12.751677852348987</c:v>
                </c:pt>
                <c:pt idx="601" formatCode="0.0">
                  <c:v>12.751677852348987</c:v>
                </c:pt>
                <c:pt idx="602" formatCode="0.0">
                  <c:v>12.751677852348987</c:v>
                </c:pt>
                <c:pt idx="603" formatCode="0.0">
                  <c:v>13.165399239543717</c:v>
                </c:pt>
                <c:pt idx="604" formatCode="0.0">
                  <c:v>13.165399239543717</c:v>
                </c:pt>
                <c:pt idx="605" formatCode="0.0">
                  <c:v>13.165399239543717</c:v>
                </c:pt>
                <c:pt idx="606" formatCode="0.0">
                  <c:v>13.165399239543717</c:v>
                </c:pt>
                <c:pt idx="607" formatCode="0.0">
                  <c:v>13.165399239543717</c:v>
                </c:pt>
                <c:pt idx="608" formatCode="0.0">
                  <c:v>13.955681282413956</c:v>
                </c:pt>
                <c:pt idx="609" formatCode="0.0">
                  <c:v>13.955681282413956</c:v>
                </c:pt>
                <c:pt idx="610" formatCode="0.0">
                  <c:v>13.955681282413956</c:v>
                </c:pt>
                <c:pt idx="611" formatCode="0.0">
                  <c:v>13.955681282413956</c:v>
                </c:pt>
                <c:pt idx="612" formatCode="0.0">
                  <c:v>14.992993928070986</c:v>
                </c:pt>
                <c:pt idx="613" formatCode="0.0">
                  <c:v>14.992993928070986</c:v>
                </c:pt>
                <c:pt idx="614" formatCode="0.0">
                  <c:v>14.992993928070986</c:v>
                </c:pt>
                <c:pt idx="615" formatCode="0.0">
                  <c:v>14.992993928070986</c:v>
                </c:pt>
                <c:pt idx="616" formatCode="0.0">
                  <c:v>15.092592592592592</c:v>
                </c:pt>
                <c:pt idx="617" formatCode="0.0">
                  <c:v>15.092592592592592</c:v>
                </c:pt>
                <c:pt idx="618" formatCode="0.0">
                  <c:v>15.092592592592592</c:v>
                </c:pt>
                <c:pt idx="619" formatCode="0.0">
                  <c:v>15.092592592592592</c:v>
                </c:pt>
                <c:pt idx="620" formatCode="0.0">
                  <c:v>15.092592592592592</c:v>
                </c:pt>
                <c:pt idx="621" formatCode="0.0">
                  <c:v>15.122176118026731</c:v>
                </c:pt>
                <c:pt idx="622" formatCode="0.0">
                  <c:v>15.122176118026731</c:v>
                </c:pt>
                <c:pt idx="623" formatCode="0.0">
                  <c:v>15.122176118026731</c:v>
                </c:pt>
                <c:pt idx="624" formatCode="0.0">
                  <c:v>15.122176118026731</c:v>
                </c:pt>
                <c:pt idx="625" formatCode="0.0">
                  <c:v>15.775034293552803</c:v>
                </c:pt>
                <c:pt idx="626" formatCode="0.0">
                  <c:v>15.775034293552803</c:v>
                </c:pt>
                <c:pt idx="627" formatCode="0.0">
                  <c:v>15.775034293552803</c:v>
                </c:pt>
                <c:pt idx="628" formatCode="0.0">
                  <c:v>15.775034293552803</c:v>
                </c:pt>
                <c:pt idx="629" formatCode="0.0">
                  <c:v>15.775034293552803</c:v>
                </c:pt>
                <c:pt idx="630" formatCode="0.0">
                  <c:v>16.101311623699676</c:v>
                </c:pt>
                <c:pt idx="631" formatCode="0.0">
                  <c:v>16.101311623699676</c:v>
                </c:pt>
                <c:pt idx="632" formatCode="0.0">
                  <c:v>16.101311623699676</c:v>
                </c:pt>
                <c:pt idx="633" formatCode="0.0">
                  <c:v>16.101311623699676</c:v>
                </c:pt>
                <c:pt idx="634" formatCode="0.0">
                  <c:v>16.150740242261087</c:v>
                </c:pt>
                <c:pt idx="635" formatCode="0.0">
                  <c:v>16.150740242261087</c:v>
                </c:pt>
                <c:pt idx="636" formatCode="0.0">
                  <c:v>16.150740242261087</c:v>
                </c:pt>
                <c:pt idx="637" formatCode="0.0">
                  <c:v>16.150740242261087</c:v>
                </c:pt>
                <c:pt idx="638" formatCode="0.0">
                  <c:v>15.156871409633244</c:v>
                </c:pt>
                <c:pt idx="639" formatCode="0.0">
                  <c:v>15.156871409633244</c:v>
                </c:pt>
                <c:pt idx="640" formatCode="0.0">
                  <c:v>15.156871409633244</c:v>
                </c:pt>
                <c:pt idx="641" formatCode="0.0">
                  <c:v>15.156871409633244</c:v>
                </c:pt>
                <c:pt idx="642" formatCode="General">
                  <c:v>14.8</c:v>
                </c:pt>
                <c:pt idx="643" formatCode="General">
                  <c:v>14.8</c:v>
                </c:pt>
                <c:pt idx="644" formatCode="General">
                  <c:v>14.8</c:v>
                </c:pt>
                <c:pt idx="645" formatCode="General">
                  <c:v>14.8</c:v>
                </c:pt>
                <c:pt idx="646" formatCode="General">
                  <c:v>14.8</c:v>
                </c:pt>
                <c:pt idx="647" formatCode="0.0">
                  <c:v>13.745704467353947</c:v>
                </c:pt>
                <c:pt idx="648" formatCode="0.0">
                  <c:v>13.745704467353947</c:v>
                </c:pt>
                <c:pt idx="649" formatCode="0.0">
                  <c:v>13.745704467353947</c:v>
                </c:pt>
                <c:pt idx="650" formatCode="0.0">
                  <c:v>13.745704467353947</c:v>
                </c:pt>
                <c:pt idx="651" formatCode="0.0">
                  <c:v>12.542517006802711</c:v>
                </c:pt>
                <c:pt idx="652" formatCode="0.0">
                  <c:v>12.542517006802711</c:v>
                </c:pt>
                <c:pt idx="653" formatCode="0.0">
                  <c:v>12.542517006802711</c:v>
                </c:pt>
                <c:pt idx="654" formatCode="0.0">
                  <c:v>12.542517006802711</c:v>
                </c:pt>
                <c:pt idx="655" formatCode="0.0">
                  <c:v>11.549769004619925</c:v>
                </c:pt>
                <c:pt idx="656" formatCode="0.0">
                  <c:v>11.549769004619925</c:v>
                </c:pt>
                <c:pt idx="657" formatCode="0.0">
                  <c:v>11.549769004619925</c:v>
                </c:pt>
                <c:pt idx="658" formatCode="0.0">
                  <c:v>11.549769004619925</c:v>
                </c:pt>
                <c:pt idx="659" formatCode="0.0">
                  <c:v>11.549769004619925</c:v>
                </c:pt>
                <c:pt idx="660" formatCode="General">
                  <c:v>10.199999999999999</c:v>
                </c:pt>
                <c:pt idx="661" formatCode="General">
                  <c:v>10.199999999999999</c:v>
                </c:pt>
                <c:pt idx="662" formatCode="General">
                  <c:v>10.199999999999999</c:v>
                </c:pt>
                <c:pt idx="663" formatCode="General">
                  <c:v>10.199999999999999</c:v>
                </c:pt>
                <c:pt idx="664" formatCode="General">
                  <c:v>8.5</c:v>
                </c:pt>
                <c:pt idx="665" formatCode="General">
                  <c:v>8.5</c:v>
                </c:pt>
                <c:pt idx="666" formatCode="General">
                  <c:v>8.5</c:v>
                </c:pt>
                <c:pt idx="667" formatCode="General">
                  <c:v>8.5</c:v>
                </c:pt>
                <c:pt idx="668" formatCode="General">
                  <c:v>8.5</c:v>
                </c:pt>
                <c:pt idx="669">
                  <c:v>8</c:v>
                </c:pt>
                <c:pt idx="670">
                  <c:v>8</c:v>
                </c:pt>
                <c:pt idx="671">
                  <c:v>8</c:v>
                </c:pt>
                <c:pt idx="672">
                  <c:v>8</c:v>
                </c:pt>
                <c:pt idx="673" formatCode="0.0">
                  <c:v>7.6491790148177863</c:v>
                </c:pt>
                <c:pt idx="674" formatCode="0.0">
                  <c:v>7.6491790148177863</c:v>
                </c:pt>
                <c:pt idx="675" formatCode="0.0">
                  <c:v>7.6491790148177863</c:v>
                </c:pt>
                <c:pt idx="676" formatCode="0.0">
                  <c:v>7.6491790148177863</c:v>
                </c:pt>
                <c:pt idx="677" formatCode="0.0">
                  <c:v>6.4770932069510456</c:v>
                </c:pt>
                <c:pt idx="678" formatCode="0.0">
                  <c:v>6.4770932069510456</c:v>
                </c:pt>
                <c:pt idx="679" formatCode="0.0">
                  <c:v>6.4770932069510456</c:v>
                </c:pt>
                <c:pt idx="680" formatCode="0.0">
                  <c:v>6.4770932069510456</c:v>
                </c:pt>
                <c:pt idx="681" formatCode="0.0">
                  <c:v>6.4770932069510456</c:v>
                </c:pt>
                <c:pt idx="682" formatCode="General">
                  <c:v>5.6</c:v>
                </c:pt>
                <c:pt idx="683" formatCode="General">
                  <c:v>5.6</c:v>
                </c:pt>
                <c:pt idx="684" formatCode="General">
                  <c:v>5.6</c:v>
                </c:pt>
                <c:pt idx="685" formatCode="General">
                  <c:v>5.6</c:v>
                </c:pt>
                <c:pt idx="686" formatCode="0.0">
                  <c:v>4.9826187717265435</c:v>
                </c:pt>
                <c:pt idx="687" formatCode="0.0">
                  <c:v>4.9826187717265435</c:v>
                </c:pt>
                <c:pt idx="688" formatCode="0.0">
                  <c:v>4.9826187717265435</c:v>
                </c:pt>
                <c:pt idx="689" formatCode="0.0">
                  <c:v>4.9826187717265435</c:v>
                </c:pt>
                <c:pt idx="690" formatCode="0.0">
                  <c:v>4.9884881043745111</c:v>
                </c:pt>
                <c:pt idx="691" formatCode="0.0">
                  <c:v>4.9884881043745111</c:v>
                </c:pt>
                <c:pt idx="692" formatCode="0.0">
                  <c:v>4.9884881043745111</c:v>
                </c:pt>
                <c:pt idx="693" formatCode="0.0">
                  <c:v>4.9884881043745111</c:v>
                </c:pt>
                <c:pt idx="694" formatCode="0.0">
                  <c:v>4.9884881043745111</c:v>
                </c:pt>
                <c:pt idx="695" formatCode="0.0">
                  <c:v>4.4883986306580415</c:v>
                </c:pt>
                <c:pt idx="696" formatCode="0.0">
                  <c:v>4.4883986306580415</c:v>
                </c:pt>
                <c:pt idx="697" formatCode="0.0">
                  <c:v>4.4883986306580415</c:v>
                </c:pt>
                <c:pt idx="698" formatCode="0.0">
                  <c:v>4.4883986306580415</c:v>
                </c:pt>
                <c:pt idx="699" formatCode="General">
                  <c:v>3.8</c:v>
                </c:pt>
                <c:pt idx="700" formatCode="General">
                  <c:v>3.8</c:v>
                </c:pt>
                <c:pt idx="701" formatCode="General">
                  <c:v>3.8</c:v>
                </c:pt>
                <c:pt idx="702" formatCode="General">
                  <c:v>3.8</c:v>
                </c:pt>
                <c:pt idx="703" formatCode="General">
                  <c:v>4.3</c:v>
                </c:pt>
                <c:pt idx="704" formatCode="General">
                  <c:v>4.3</c:v>
                </c:pt>
                <c:pt idx="705" formatCode="General">
                  <c:v>4.3</c:v>
                </c:pt>
                <c:pt idx="706" formatCode="General">
                  <c:v>4.3</c:v>
                </c:pt>
                <c:pt idx="707" formatCode="General">
                  <c:v>4.3</c:v>
                </c:pt>
                <c:pt idx="708" formatCode="General">
                  <c:v>4.3</c:v>
                </c:pt>
                <c:pt idx="709" formatCode="General">
                  <c:v>4.3</c:v>
                </c:pt>
                <c:pt idx="710" formatCode="General">
                  <c:v>4.3</c:v>
                </c:pt>
                <c:pt idx="711" formatCode="General">
                  <c:v>4.3</c:v>
                </c:pt>
                <c:pt idx="712" formatCode="General">
                  <c:v>4.2</c:v>
                </c:pt>
                <c:pt idx="713" formatCode="General">
                  <c:v>4.2</c:v>
                </c:pt>
                <c:pt idx="714" formatCode="General">
                  <c:v>4.2</c:v>
                </c:pt>
                <c:pt idx="715" formatCode="General">
                  <c:v>4.2</c:v>
                </c:pt>
                <c:pt idx="716" formatCode="0.0">
                  <c:v>4.4926993635342471</c:v>
                </c:pt>
                <c:pt idx="717" formatCode="0.0">
                  <c:v>4.4926993635342471</c:v>
                </c:pt>
                <c:pt idx="718" formatCode="0.0">
                  <c:v>4.4926993635342471</c:v>
                </c:pt>
                <c:pt idx="719" formatCode="0.0">
                  <c:v>4.4926993635342471</c:v>
                </c:pt>
                <c:pt idx="720" formatCode="0.0">
                  <c:v>4.4926993635342471</c:v>
                </c:pt>
                <c:pt idx="721" formatCode="0.0">
                  <c:v>4.2846497764530644</c:v>
                </c:pt>
                <c:pt idx="722" formatCode="0.0">
                  <c:v>4.2846497764530644</c:v>
                </c:pt>
                <c:pt idx="723" formatCode="0.0">
                  <c:v>4.2846497764530644</c:v>
                </c:pt>
                <c:pt idx="724" formatCode="0.0">
                  <c:v>4.2846497764530644</c:v>
                </c:pt>
                <c:pt idx="725" formatCode="0.0">
                  <c:v>4.2782738095238138</c:v>
                </c:pt>
                <c:pt idx="726" formatCode="0.0">
                  <c:v>4.2782738095238138</c:v>
                </c:pt>
                <c:pt idx="727" formatCode="0.0">
                  <c:v>4.2782738095238138</c:v>
                </c:pt>
                <c:pt idx="728" formatCode="0.0">
                  <c:v>4.2782738095238138</c:v>
                </c:pt>
                <c:pt idx="729" formatCode="0.0">
                  <c:v>4.2782738095238102</c:v>
                </c:pt>
                <c:pt idx="730" formatCode="0.0">
                  <c:v>4.5994065281899088</c:v>
                </c:pt>
                <c:pt idx="731" formatCode="0.0">
                  <c:v>4.5994065281899088</c:v>
                </c:pt>
                <c:pt idx="732" formatCode="0.0">
                  <c:v>4.5994065281899088</c:v>
                </c:pt>
                <c:pt idx="733" formatCode="0.0">
                  <c:v>4.5994065281899088</c:v>
                </c:pt>
                <c:pt idx="734" formatCode="0.0">
                  <c:v>4.5370711914422657</c:v>
                </c:pt>
                <c:pt idx="735" formatCode="0.0">
                  <c:v>4.5370711914422657</c:v>
                </c:pt>
                <c:pt idx="736" formatCode="0.0">
                  <c:v>4.5370711914422657</c:v>
                </c:pt>
                <c:pt idx="737" formatCode="0.0">
                  <c:v>4.5370711914422657</c:v>
                </c:pt>
                <c:pt idx="738" formatCode="General">
                  <c:v>4.3</c:v>
                </c:pt>
                <c:pt idx="739" formatCode="General">
                  <c:v>4.3</c:v>
                </c:pt>
                <c:pt idx="740" formatCode="General">
                  <c:v>4.3</c:v>
                </c:pt>
                <c:pt idx="741" formatCode="General">
                  <c:v>4.3</c:v>
                </c:pt>
                <c:pt idx="742" formatCode="0.0">
                  <c:v>4</c:v>
                </c:pt>
                <c:pt idx="743" formatCode="0.0">
                  <c:v>4</c:v>
                </c:pt>
                <c:pt idx="744" formatCode="0.0">
                  <c:v>4</c:v>
                </c:pt>
                <c:pt idx="745" formatCode="0.0">
                  <c:v>4</c:v>
                </c:pt>
                <c:pt idx="746" formatCode="0.0">
                  <c:v>4</c:v>
                </c:pt>
                <c:pt idx="747" formatCode="General">
                  <c:v>3.8</c:v>
                </c:pt>
                <c:pt idx="748" formatCode="General">
                  <c:v>3.8</c:v>
                </c:pt>
                <c:pt idx="749" formatCode="General">
                  <c:v>3.8</c:v>
                </c:pt>
                <c:pt idx="750" formatCode="General">
                  <c:v>3.8</c:v>
                </c:pt>
                <c:pt idx="751" formatCode="0.0">
                  <c:v>4.6198617679156229</c:v>
                </c:pt>
                <c:pt idx="752" formatCode="0.0">
                  <c:v>4.6198617679156229</c:v>
                </c:pt>
                <c:pt idx="753" formatCode="0.0">
                  <c:v>4.6198617679156229</c:v>
                </c:pt>
                <c:pt idx="754" formatCode="0.0">
                  <c:v>4.6198617679156229</c:v>
                </c:pt>
                <c:pt idx="755" formatCode="0.0">
                  <c:v>4.8913043478260976</c:v>
                </c:pt>
                <c:pt idx="756" formatCode="0.0">
                  <c:v>4.8913043478260976</c:v>
                </c:pt>
                <c:pt idx="757" formatCode="0.0">
                  <c:v>4.8913043478260976</c:v>
                </c:pt>
                <c:pt idx="758" formatCode="0.0">
                  <c:v>4.8913043478260976</c:v>
                </c:pt>
                <c:pt idx="759" formatCode="0.0">
                  <c:v>4.8913043478260976</c:v>
                </c:pt>
                <c:pt idx="760" formatCode="General">
                  <c:v>4.7</c:v>
                </c:pt>
                <c:pt idx="761" formatCode="General">
                  <c:v>4.7</c:v>
                </c:pt>
                <c:pt idx="762" formatCode="General">
                  <c:v>4.7</c:v>
                </c:pt>
                <c:pt idx="763" formatCode="General">
                  <c:v>4.7</c:v>
                </c:pt>
                <c:pt idx="764" formatCode="General">
                  <c:v>2.9</c:v>
                </c:pt>
                <c:pt idx="765" formatCode="General">
                  <c:v>2.9</c:v>
                </c:pt>
                <c:pt idx="766" formatCode="General">
                  <c:v>2.9</c:v>
                </c:pt>
                <c:pt idx="767" formatCode="General">
                  <c:v>2.9</c:v>
                </c:pt>
                <c:pt idx="768" formatCode="General">
                  <c:v>2.9</c:v>
                </c:pt>
                <c:pt idx="769" formatCode="General">
                  <c:v>2.8</c:v>
                </c:pt>
                <c:pt idx="770" formatCode="General">
                  <c:v>2.8</c:v>
                </c:pt>
                <c:pt idx="771" formatCode="General">
                  <c:v>2.8</c:v>
                </c:pt>
                <c:pt idx="772" formatCode="General">
                  <c:v>2.8</c:v>
                </c:pt>
                <c:pt idx="773" formatCode="General">
                  <c:v>2.8</c:v>
                </c:pt>
                <c:pt idx="774" formatCode="General">
                  <c:v>2.8</c:v>
                </c:pt>
                <c:pt idx="775" formatCode="General">
                  <c:v>2.8</c:v>
                </c:pt>
                <c:pt idx="776" formatCode="General">
                  <c:v>2.8</c:v>
                </c:pt>
                <c:pt idx="777" formatCode="General">
                  <c:v>2.8</c:v>
                </c:pt>
                <c:pt idx="778" formatCode="General">
                  <c:v>2.8</c:v>
                </c:pt>
                <c:pt idx="779" formatCode="General">
                  <c:v>2.8</c:v>
                </c:pt>
                <c:pt idx="780" formatCode="General">
                  <c:v>2.8</c:v>
                </c:pt>
                <c:pt idx="781" formatCode="General">
                  <c:v>2.8</c:v>
                </c:pt>
                <c:pt idx="782" formatCode="General">
                  <c:v>2.4</c:v>
                </c:pt>
                <c:pt idx="783" formatCode="General">
                  <c:v>2.4</c:v>
                </c:pt>
                <c:pt idx="784" formatCode="General">
                  <c:v>2.4</c:v>
                </c:pt>
                <c:pt idx="785" formatCode="General">
                  <c:v>2.4</c:v>
                </c:pt>
                <c:pt idx="786" formatCode="General">
                  <c:v>2.4</c:v>
                </c:pt>
                <c:pt idx="787" formatCode="General">
                  <c:v>2.4</c:v>
                </c:pt>
                <c:pt idx="788" formatCode="General">
                  <c:v>2.4</c:v>
                </c:pt>
                <c:pt idx="789" formatCode="General">
                  <c:v>2.4</c:v>
                </c:pt>
                <c:pt idx="790" formatCode="0.0">
                  <c:v>2.8282828282828243</c:v>
                </c:pt>
                <c:pt idx="791" formatCode="0.0">
                  <c:v>2.8282828282828243</c:v>
                </c:pt>
                <c:pt idx="792" formatCode="0.0">
                  <c:v>2.8282828282828243</c:v>
                </c:pt>
                <c:pt idx="793" formatCode="0.0">
                  <c:v>2.8282828282828243</c:v>
                </c:pt>
                <c:pt idx="794" formatCode="0.0">
                  <c:v>2.8282828282828243</c:v>
                </c:pt>
                <c:pt idx="795" formatCode="0.0">
                  <c:v>3.3232628398791597</c:v>
                </c:pt>
                <c:pt idx="796" formatCode="0.0">
                  <c:v>3.3232628398791597</c:v>
                </c:pt>
                <c:pt idx="797" formatCode="0.0">
                  <c:v>3.3232628398791597</c:v>
                </c:pt>
                <c:pt idx="798" formatCode="0.0">
                  <c:v>3.3232628398791597</c:v>
                </c:pt>
                <c:pt idx="799" formatCode="0.0">
                  <c:v>3.5175879396984966</c:v>
                </c:pt>
                <c:pt idx="800" formatCode="0.0">
                  <c:v>3.5175879396984966</c:v>
                </c:pt>
                <c:pt idx="801" formatCode="0.0">
                  <c:v>3.5175879396984966</c:v>
                </c:pt>
                <c:pt idx="802" formatCode="0.0">
                  <c:v>3.5175879396984966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D82B-41CE-9760-DAD93B769A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532576"/>
        <c:axId val="-104531488"/>
      </c:lineChart>
      <c:lineChart>
        <c:grouping val="standard"/>
        <c:varyColors val="0"/>
        <c:ser>
          <c:idx val="0"/>
          <c:order val="0"/>
          <c:tx>
            <c:strRef>
              <c:f>'T5-7'!$C$1</c:f>
              <c:strCache>
                <c:ptCount val="1"/>
                <c:pt idx="0">
                  <c:v>policy rate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T5-7'!$B$159:$B$962</c:f>
              <c:numCache>
                <c:formatCode>[$-409]d\-mmm\-yyyy;@</c:formatCode>
                <c:ptCount val="804"/>
                <c:pt idx="0">
                  <c:v>40547</c:v>
                </c:pt>
                <c:pt idx="1">
                  <c:v>40554</c:v>
                </c:pt>
                <c:pt idx="2">
                  <c:v>40561</c:v>
                </c:pt>
                <c:pt idx="3">
                  <c:v>40568</c:v>
                </c:pt>
                <c:pt idx="4">
                  <c:v>40575</c:v>
                </c:pt>
                <c:pt idx="5">
                  <c:v>40582</c:v>
                </c:pt>
                <c:pt idx="6">
                  <c:v>40589</c:v>
                </c:pt>
                <c:pt idx="7">
                  <c:v>40596</c:v>
                </c:pt>
                <c:pt idx="8">
                  <c:v>40603</c:v>
                </c:pt>
                <c:pt idx="9">
                  <c:v>40610</c:v>
                </c:pt>
                <c:pt idx="10">
                  <c:v>40617</c:v>
                </c:pt>
                <c:pt idx="11">
                  <c:v>40624</c:v>
                </c:pt>
                <c:pt idx="12">
                  <c:v>40631</c:v>
                </c:pt>
                <c:pt idx="13">
                  <c:v>40638</c:v>
                </c:pt>
                <c:pt idx="14">
                  <c:v>40645</c:v>
                </c:pt>
                <c:pt idx="15">
                  <c:v>40652</c:v>
                </c:pt>
                <c:pt idx="16">
                  <c:v>40659</c:v>
                </c:pt>
                <c:pt idx="17">
                  <c:v>40666</c:v>
                </c:pt>
                <c:pt idx="18">
                  <c:v>40673</c:v>
                </c:pt>
                <c:pt idx="19">
                  <c:v>40680</c:v>
                </c:pt>
                <c:pt idx="20">
                  <c:v>40687</c:v>
                </c:pt>
                <c:pt idx="21">
                  <c:v>40694</c:v>
                </c:pt>
                <c:pt idx="22">
                  <c:v>40701</c:v>
                </c:pt>
                <c:pt idx="23">
                  <c:v>40708</c:v>
                </c:pt>
                <c:pt idx="24">
                  <c:v>40715</c:v>
                </c:pt>
                <c:pt idx="25">
                  <c:v>40722</c:v>
                </c:pt>
                <c:pt idx="26">
                  <c:v>40729</c:v>
                </c:pt>
                <c:pt idx="27">
                  <c:v>40736</c:v>
                </c:pt>
                <c:pt idx="28">
                  <c:v>40743</c:v>
                </c:pt>
                <c:pt idx="29">
                  <c:v>40750</c:v>
                </c:pt>
                <c:pt idx="30">
                  <c:v>40757</c:v>
                </c:pt>
                <c:pt idx="31">
                  <c:v>40764</c:v>
                </c:pt>
                <c:pt idx="32">
                  <c:v>40771</c:v>
                </c:pt>
                <c:pt idx="33">
                  <c:v>40778</c:v>
                </c:pt>
                <c:pt idx="34">
                  <c:v>40785</c:v>
                </c:pt>
                <c:pt idx="35">
                  <c:v>40792</c:v>
                </c:pt>
                <c:pt idx="36">
                  <c:v>40799</c:v>
                </c:pt>
                <c:pt idx="37">
                  <c:v>40806</c:v>
                </c:pt>
                <c:pt idx="38">
                  <c:v>40813</c:v>
                </c:pt>
                <c:pt idx="39">
                  <c:v>40820</c:v>
                </c:pt>
                <c:pt idx="40">
                  <c:v>40827</c:v>
                </c:pt>
                <c:pt idx="41">
                  <c:v>40834</c:v>
                </c:pt>
                <c:pt idx="42">
                  <c:v>40841</c:v>
                </c:pt>
                <c:pt idx="43">
                  <c:v>40848</c:v>
                </c:pt>
                <c:pt idx="44">
                  <c:v>40855</c:v>
                </c:pt>
                <c:pt idx="45">
                  <c:v>40862</c:v>
                </c:pt>
                <c:pt idx="46">
                  <c:v>40869</c:v>
                </c:pt>
                <c:pt idx="47">
                  <c:v>40876</c:v>
                </c:pt>
                <c:pt idx="48">
                  <c:v>40883</c:v>
                </c:pt>
                <c:pt idx="49">
                  <c:v>40890</c:v>
                </c:pt>
                <c:pt idx="50">
                  <c:v>40897</c:v>
                </c:pt>
                <c:pt idx="51">
                  <c:v>40904</c:v>
                </c:pt>
                <c:pt idx="52">
                  <c:v>40911</c:v>
                </c:pt>
                <c:pt idx="53">
                  <c:v>40918</c:v>
                </c:pt>
                <c:pt idx="54">
                  <c:v>40925</c:v>
                </c:pt>
                <c:pt idx="55">
                  <c:v>40932</c:v>
                </c:pt>
                <c:pt idx="56">
                  <c:v>40939</c:v>
                </c:pt>
                <c:pt idx="57">
                  <c:v>40946</c:v>
                </c:pt>
                <c:pt idx="58">
                  <c:v>40953</c:v>
                </c:pt>
                <c:pt idx="59">
                  <c:v>40960</c:v>
                </c:pt>
                <c:pt idx="60">
                  <c:v>40967</c:v>
                </c:pt>
                <c:pt idx="61">
                  <c:v>40974</c:v>
                </c:pt>
                <c:pt idx="62">
                  <c:v>40981</c:v>
                </c:pt>
                <c:pt idx="63">
                  <c:v>40988</c:v>
                </c:pt>
                <c:pt idx="64">
                  <c:v>40995</c:v>
                </c:pt>
                <c:pt idx="65">
                  <c:v>41002</c:v>
                </c:pt>
                <c:pt idx="66">
                  <c:v>41009</c:v>
                </c:pt>
                <c:pt idx="67">
                  <c:v>41016</c:v>
                </c:pt>
                <c:pt idx="68">
                  <c:v>41023</c:v>
                </c:pt>
                <c:pt idx="69">
                  <c:v>41030</c:v>
                </c:pt>
                <c:pt idx="70">
                  <c:v>41037</c:v>
                </c:pt>
                <c:pt idx="71">
                  <c:v>41044</c:v>
                </c:pt>
                <c:pt idx="72">
                  <c:v>41051</c:v>
                </c:pt>
                <c:pt idx="73">
                  <c:v>41058</c:v>
                </c:pt>
                <c:pt idx="74">
                  <c:v>41065</c:v>
                </c:pt>
                <c:pt idx="75">
                  <c:v>41072</c:v>
                </c:pt>
                <c:pt idx="76">
                  <c:v>41079</c:v>
                </c:pt>
                <c:pt idx="77">
                  <c:v>41086</c:v>
                </c:pt>
                <c:pt idx="78">
                  <c:v>41093</c:v>
                </c:pt>
                <c:pt idx="79">
                  <c:v>41100</c:v>
                </c:pt>
                <c:pt idx="80">
                  <c:v>41107</c:v>
                </c:pt>
                <c:pt idx="81">
                  <c:v>41114</c:v>
                </c:pt>
                <c:pt idx="82">
                  <c:v>41121</c:v>
                </c:pt>
                <c:pt idx="83">
                  <c:v>41128</c:v>
                </c:pt>
                <c:pt idx="84">
                  <c:v>41135</c:v>
                </c:pt>
                <c:pt idx="85">
                  <c:v>41142</c:v>
                </c:pt>
                <c:pt idx="86">
                  <c:v>41149</c:v>
                </c:pt>
                <c:pt idx="87">
                  <c:v>41156</c:v>
                </c:pt>
                <c:pt idx="88">
                  <c:v>41163</c:v>
                </c:pt>
                <c:pt idx="89">
                  <c:v>41170</c:v>
                </c:pt>
                <c:pt idx="90">
                  <c:v>41177</c:v>
                </c:pt>
                <c:pt idx="91">
                  <c:v>41184</c:v>
                </c:pt>
                <c:pt idx="92">
                  <c:v>41191</c:v>
                </c:pt>
                <c:pt idx="93">
                  <c:v>41198</c:v>
                </c:pt>
                <c:pt idx="94">
                  <c:v>41205</c:v>
                </c:pt>
                <c:pt idx="95">
                  <c:v>41212</c:v>
                </c:pt>
                <c:pt idx="96">
                  <c:v>41219</c:v>
                </c:pt>
                <c:pt idx="97">
                  <c:v>41226</c:v>
                </c:pt>
                <c:pt idx="98">
                  <c:v>41233</c:v>
                </c:pt>
                <c:pt idx="99">
                  <c:v>41240</c:v>
                </c:pt>
                <c:pt idx="100">
                  <c:v>41247</c:v>
                </c:pt>
                <c:pt idx="101">
                  <c:v>41254</c:v>
                </c:pt>
                <c:pt idx="102">
                  <c:v>41261</c:v>
                </c:pt>
                <c:pt idx="103">
                  <c:v>41268</c:v>
                </c:pt>
                <c:pt idx="104">
                  <c:v>41275</c:v>
                </c:pt>
                <c:pt idx="105">
                  <c:v>41282</c:v>
                </c:pt>
                <c:pt idx="106">
                  <c:v>41289</c:v>
                </c:pt>
                <c:pt idx="107">
                  <c:v>41296</c:v>
                </c:pt>
                <c:pt idx="108">
                  <c:v>41303</c:v>
                </c:pt>
                <c:pt idx="109">
                  <c:v>41310</c:v>
                </c:pt>
                <c:pt idx="110">
                  <c:v>41317</c:v>
                </c:pt>
                <c:pt idx="111">
                  <c:v>41324</c:v>
                </c:pt>
                <c:pt idx="112">
                  <c:v>41331</c:v>
                </c:pt>
                <c:pt idx="113">
                  <c:v>41338</c:v>
                </c:pt>
                <c:pt idx="114">
                  <c:v>41345</c:v>
                </c:pt>
                <c:pt idx="115">
                  <c:v>41352</c:v>
                </c:pt>
                <c:pt idx="116">
                  <c:v>41359</c:v>
                </c:pt>
                <c:pt idx="117">
                  <c:v>41366</c:v>
                </c:pt>
                <c:pt idx="118">
                  <c:v>41373</c:v>
                </c:pt>
                <c:pt idx="119">
                  <c:v>41380</c:v>
                </c:pt>
                <c:pt idx="120">
                  <c:v>41387</c:v>
                </c:pt>
                <c:pt idx="121">
                  <c:v>41394</c:v>
                </c:pt>
                <c:pt idx="122">
                  <c:v>41401</c:v>
                </c:pt>
                <c:pt idx="123">
                  <c:v>41408</c:v>
                </c:pt>
                <c:pt idx="124">
                  <c:v>41415</c:v>
                </c:pt>
                <c:pt idx="125">
                  <c:v>41422</c:v>
                </c:pt>
                <c:pt idx="126">
                  <c:v>41429</c:v>
                </c:pt>
                <c:pt idx="127">
                  <c:v>41436</c:v>
                </c:pt>
                <c:pt idx="128">
                  <c:v>41443</c:v>
                </c:pt>
                <c:pt idx="129">
                  <c:v>41450</c:v>
                </c:pt>
                <c:pt idx="130">
                  <c:v>41457</c:v>
                </c:pt>
                <c:pt idx="131">
                  <c:v>41464</c:v>
                </c:pt>
                <c:pt idx="132">
                  <c:v>41471</c:v>
                </c:pt>
                <c:pt idx="133">
                  <c:v>41478</c:v>
                </c:pt>
                <c:pt idx="134">
                  <c:v>41485</c:v>
                </c:pt>
                <c:pt idx="135">
                  <c:v>41492</c:v>
                </c:pt>
                <c:pt idx="136">
                  <c:v>41499</c:v>
                </c:pt>
                <c:pt idx="137">
                  <c:v>41506</c:v>
                </c:pt>
                <c:pt idx="138">
                  <c:v>41513</c:v>
                </c:pt>
                <c:pt idx="139">
                  <c:v>41520</c:v>
                </c:pt>
                <c:pt idx="140">
                  <c:v>41527</c:v>
                </c:pt>
                <c:pt idx="141">
                  <c:v>41534</c:v>
                </c:pt>
                <c:pt idx="142">
                  <c:v>41541</c:v>
                </c:pt>
                <c:pt idx="143">
                  <c:v>41548</c:v>
                </c:pt>
                <c:pt idx="144">
                  <c:v>41555</c:v>
                </c:pt>
                <c:pt idx="145">
                  <c:v>41562</c:v>
                </c:pt>
                <c:pt idx="146">
                  <c:v>41569</c:v>
                </c:pt>
                <c:pt idx="147">
                  <c:v>41576</c:v>
                </c:pt>
                <c:pt idx="148">
                  <c:v>41583</c:v>
                </c:pt>
                <c:pt idx="149">
                  <c:v>41590</c:v>
                </c:pt>
                <c:pt idx="150">
                  <c:v>41597</c:v>
                </c:pt>
                <c:pt idx="151">
                  <c:v>41604</c:v>
                </c:pt>
                <c:pt idx="152">
                  <c:v>41611</c:v>
                </c:pt>
                <c:pt idx="153">
                  <c:v>41618</c:v>
                </c:pt>
                <c:pt idx="154">
                  <c:v>41625</c:v>
                </c:pt>
                <c:pt idx="155">
                  <c:v>41632</c:v>
                </c:pt>
                <c:pt idx="156">
                  <c:v>41639</c:v>
                </c:pt>
                <c:pt idx="157">
                  <c:v>41646</c:v>
                </c:pt>
                <c:pt idx="158">
                  <c:v>41653</c:v>
                </c:pt>
                <c:pt idx="159">
                  <c:v>41660</c:v>
                </c:pt>
                <c:pt idx="160">
                  <c:v>41667</c:v>
                </c:pt>
                <c:pt idx="161">
                  <c:v>41674</c:v>
                </c:pt>
                <c:pt idx="162">
                  <c:v>41681</c:v>
                </c:pt>
                <c:pt idx="163">
                  <c:v>41688</c:v>
                </c:pt>
                <c:pt idx="164">
                  <c:v>41695</c:v>
                </c:pt>
                <c:pt idx="165">
                  <c:v>41702</c:v>
                </c:pt>
                <c:pt idx="166">
                  <c:v>41709</c:v>
                </c:pt>
                <c:pt idx="167">
                  <c:v>41716</c:v>
                </c:pt>
                <c:pt idx="168">
                  <c:v>41723</c:v>
                </c:pt>
                <c:pt idx="169">
                  <c:v>41730</c:v>
                </c:pt>
                <c:pt idx="170">
                  <c:v>41737</c:v>
                </c:pt>
                <c:pt idx="171">
                  <c:v>41744</c:v>
                </c:pt>
                <c:pt idx="172">
                  <c:v>41751</c:v>
                </c:pt>
                <c:pt idx="173">
                  <c:v>41758</c:v>
                </c:pt>
                <c:pt idx="174">
                  <c:v>41765</c:v>
                </c:pt>
                <c:pt idx="175">
                  <c:v>41772</c:v>
                </c:pt>
                <c:pt idx="176">
                  <c:v>41779</c:v>
                </c:pt>
                <c:pt idx="177">
                  <c:v>41786</c:v>
                </c:pt>
                <c:pt idx="178">
                  <c:v>41793</c:v>
                </c:pt>
                <c:pt idx="179">
                  <c:v>41800</c:v>
                </c:pt>
                <c:pt idx="180">
                  <c:v>41807</c:v>
                </c:pt>
                <c:pt idx="181">
                  <c:v>41814</c:v>
                </c:pt>
                <c:pt idx="182">
                  <c:v>41821</c:v>
                </c:pt>
                <c:pt idx="183">
                  <c:v>41828</c:v>
                </c:pt>
                <c:pt idx="184">
                  <c:v>41835</c:v>
                </c:pt>
                <c:pt idx="185">
                  <c:v>41842</c:v>
                </c:pt>
                <c:pt idx="186">
                  <c:v>41849</c:v>
                </c:pt>
                <c:pt idx="187">
                  <c:v>41856</c:v>
                </c:pt>
                <c:pt idx="188">
                  <c:v>41863</c:v>
                </c:pt>
                <c:pt idx="189">
                  <c:v>41870</c:v>
                </c:pt>
                <c:pt idx="190">
                  <c:v>41877</c:v>
                </c:pt>
                <c:pt idx="191">
                  <c:v>41884</c:v>
                </c:pt>
                <c:pt idx="192">
                  <c:v>41891</c:v>
                </c:pt>
                <c:pt idx="193">
                  <c:v>41898</c:v>
                </c:pt>
                <c:pt idx="194">
                  <c:v>41905</c:v>
                </c:pt>
                <c:pt idx="195">
                  <c:v>41912</c:v>
                </c:pt>
                <c:pt idx="196">
                  <c:v>41919</c:v>
                </c:pt>
                <c:pt idx="197">
                  <c:v>41926</c:v>
                </c:pt>
                <c:pt idx="198">
                  <c:v>41933</c:v>
                </c:pt>
                <c:pt idx="199">
                  <c:v>41940</c:v>
                </c:pt>
                <c:pt idx="200">
                  <c:v>41947</c:v>
                </c:pt>
                <c:pt idx="201">
                  <c:v>41954</c:v>
                </c:pt>
                <c:pt idx="202">
                  <c:v>41961</c:v>
                </c:pt>
                <c:pt idx="203">
                  <c:v>41968</c:v>
                </c:pt>
                <c:pt idx="204">
                  <c:v>41975</c:v>
                </c:pt>
                <c:pt idx="205">
                  <c:v>41982</c:v>
                </c:pt>
                <c:pt idx="206">
                  <c:v>41989</c:v>
                </c:pt>
                <c:pt idx="207">
                  <c:v>41996</c:v>
                </c:pt>
                <c:pt idx="208">
                  <c:v>42003</c:v>
                </c:pt>
                <c:pt idx="209">
                  <c:v>42010</c:v>
                </c:pt>
                <c:pt idx="210">
                  <c:v>42017</c:v>
                </c:pt>
                <c:pt idx="211">
                  <c:v>42024</c:v>
                </c:pt>
                <c:pt idx="212">
                  <c:v>42031</c:v>
                </c:pt>
                <c:pt idx="213">
                  <c:v>42038</c:v>
                </c:pt>
                <c:pt idx="214">
                  <c:v>42045</c:v>
                </c:pt>
                <c:pt idx="215">
                  <c:v>42052</c:v>
                </c:pt>
                <c:pt idx="216">
                  <c:v>42059</c:v>
                </c:pt>
                <c:pt idx="217">
                  <c:v>42066</c:v>
                </c:pt>
                <c:pt idx="218">
                  <c:v>42073</c:v>
                </c:pt>
                <c:pt idx="219">
                  <c:v>42080</c:v>
                </c:pt>
                <c:pt idx="220">
                  <c:v>42087</c:v>
                </c:pt>
                <c:pt idx="221">
                  <c:v>42094</c:v>
                </c:pt>
                <c:pt idx="222">
                  <c:v>42101</c:v>
                </c:pt>
                <c:pt idx="223">
                  <c:v>42108</c:v>
                </c:pt>
                <c:pt idx="224">
                  <c:v>42115</c:v>
                </c:pt>
                <c:pt idx="225">
                  <c:v>42122</c:v>
                </c:pt>
                <c:pt idx="226">
                  <c:v>42129</c:v>
                </c:pt>
                <c:pt idx="227">
                  <c:v>42136</c:v>
                </c:pt>
                <c:pt idx="228">
                  <c:v>42143</c:v>
                </c:pt>
                <c:pt idx="229">
                  <c:v>42150</c:v>
                </c:pt>
                <c:pt idx="230">
                  <c:v>42157</c:v>
                </c:pt>
                <c:pt idx="231">
                  <c:v>42164</c:v>
                </c:pt>
                <c:pt idx="232">
                  <c:v>42171</c:v>
                </c:pt>
                <c:pt idx="233">
                  <c:v>42178</c:v>
                </c:pt>
                <c:pt idx="234">
                  <c:v>42185</c:v>
                </c:pt>
                <c:pt idx="235">
                  <c:v>42192</c:v>
                </c:pt>
                <c:pt idx="236">
                  <c:v>42199</c:v>
                </c:pt>
                <c:pt idx="237">
                  <c:v>42206</c:v>
                </c:pt>
                <c:pt idx="238">
                  <c:v>42213</c:v>
                </c:pt>
                <c:pt idx="239">
                  <c:v>42220</c:v>
                </c:pt>
                <c:pt idx="240">
                  <c:v>42227</c:v>
                </c:pt>
                <c:pt idx="241">
                  <c:v>42234</c:v>
                </c:pt>
                <c:pt idx="242">
                  <c:v>42241</c:v>
                </c:pt>
                <c:pt idx="243">
                  <c:v>42248</c:v>
                </c:pt>
                <c:pt idx="244">
                  <c:v>42255</c:v>
                </c:pt>
                <c:pt idx="245">
                  <c:v>42262</c:v>
                </c:pt>
                <c:pt idx="246">
                  <c:v>42269</c:v>
                </c:pt>
                <c:pt idx="247">
                  <c:v>42276</c:v>
                </c:pt>
                <c:pt idx="248">
                  <c:v>42283</c:v>
                </c:pt>
                <c:pt idx="249">
                  <c:v>42290</c:v>
                </c:pt>
                <c:pt idx="250">
                  <c:v>42297</c:v>
                </c:pt>
                <c:pt idx="251">
                  <c:v>42304</c:v>
                </c:pt>
                <c:pt idx="252">
                  <c:v>42311</c:v>
                </c:pt>
                <c:pt idx="253">
                  <c:v>42318</c:v>
                </c:pt>
                <c:pt idx="254">
                  <c:v>42325</c:v>
                </c:pt>
                <c:pt idx="255">
                  <c:v>42332</c:v>
                </c:pt>
                <c:pt idx="256">
                  <c:v>42339</c:v>
                </c:pt>
                <c:pt idx="257">
                  <c:v>42346</c:v>
                </c:pt>
                <c:pt idx="258">
                  <c:v>42353</c:v>
                </c:pt>
                <c:pt idx="259">
                  <c:v>42360</c:v>
                </c:pt>
                <c:pt idx="260">
                  <c:v>42367</c:v>
                </c:pt>
                <c:pt idx="261">
                  <c:v>42374</c:v>
                </c:pt>
                <c:pt idx="262">
                  <c:v>42381</c:v>
                </c:pt>
                <c:pt idx="263">
                  <c:v>42388</c:v>
                </c:pt>
                <c:pt idx="264">
                  <c:v>42395</c:v>
                </c:pt>
                <c:pt idx="265">
                  <c:v>42402</c:v>
                </c:pt>
                <c:pt idx="266">
                  <c:v>42409</c:v>
                </c:pt>
                <c:pt idx="267">
                  <c:v>42416</c:v>
                </c:pt>
                <c:pt idx="268">
                  <c:v>42423</c:v>
                </c:pt>
                <c:pt idx="269">
                  <c:v>42430</c:v>
                </c:pt>
                <c:pt idx="270">
                  <c:v>42437</c:v>
                </c:pt>
                <c:pt idx="271">
                  <c:v>42444</c:v>
                </c:pt>
                <c:pt idx="272">
                  <c:v>42451</c:v>
                </c:pt>
                <c:pt idx="273">
                  <c:v>42458</c:v>
                </c:pt>
                <c:pt idx="274">
                  <c:v>42465</c:v>
                </c:pt>
                <c:pt idx="275">
                  <c:v>42472</c:v>
                </c:pt>
                <c:pt idx="276">
                  <c:v>42479</c:v>
                </c:pt>
                <c:pt idx="277">
                  <c:v>42486</c:v>
                </c:pt>
                <c:pt idx="278">
                  <c:v>42493</c:v>
                </c:pt>
                <c:pt idx="279">
                  <c:v>42500</c:v>
                </c:pt>
                <c:pt idx="280">
                  <c:v>42507</c:v>
                </c:pt>
                <c:pt idx="281">
                  <c:v>42514</c:v>
                </c:pt>
                <c:pt idx="282">
                  <c:v>42521</c:v>
                </c:pt>
                <c:pt idx="283">
                  <c:v>42528</c:v>
                </c:pt>
                <c:pt idx="284">
                  <c:v>42535</c:v>
                </c:pt>
                <c:pt idx="285">
                  <c:v>42542</c:v>
                </c:pt>
                <c:pt idx="286">
                  <c:v>42549</c:v>
                </c:pt>
                <c:pt idx="287">
                  <c:v>42556</c:v>
                </c:pt>
                <c:pt idx="288">
                  <c:v>42563</c:v>
                </c:pt>
                <c:pt idx="289">
                  <c:v>42570</c:v>
                </c:pt>
                <c:pt idx="290">
                  <c:v>42577</c:v>
                </c:pt>
                <c:pt idx="291">
                  <c:v>42584</c:v>
                </c:pt>
                <c:pt idx="292">
                  <c:v>42591</c:v>
                </c:pt>
                <c:pt idx="293">
                  <c:v>42598</c:v>
                </c:pt>
                <c:pt idx="294">
                  <c:v>42605</c:v>
                </c:pt>
                <c:pt idx="295">
                  <c:v>42612</c:v>
                </c:pt>
                <c:pt idx="296">
                  <c:v>42619</c:v>
                </c:pt>
                <c:pt idx="297">
                  <c:v>42626</c:v>
                </c:pt>
                <c:pt idx="298">
                  <c:v>42633</c:v>
                </c:pt>
                <c:pt idx="299">
                  <c:v>42640</c:v>
                </c:pt>
                <c:pt idx="300">
                  <c:v>42647</c:v>
                </c:pt>
                <c:pt idx="301">
                  <c:v>42654</c:v>
                </c:pt>
                <c:pt idx="302">
                  <c:v>42661</c:v>
                </c:pt>
                <c:pt idx="303">
                  <c:v>42668</c:v>
                </c:pt>
                <c:pt idx="304">
                  <c:v>42675</c:v>
                </c:pt>
                <c:pt idx="305">
                  <c:v>42682</c:v>
                </c:pt>
                <c:pt idx="306">
                  <c:v>42689</c:v>
                </c:pt>
                <c:pt idx="307">
                  <c:v>42696</c:v>
                </c:pt>
                <c:pt idx="308">
                  <c:v>42703</c:v>
                </c:pt>
                <c:pt idx="309">
                  <c:v>42710</c:v>
                </c:pt>
                <c:pt idx="310">
                  <c:v>42717</c:v>
                </c:pt>
                <c:pt idx="311">
                  <c:v>42724</c:v>
                </c:pt>
                <c:pt idx="312">
                  <c:v>42731</c:v>
                </c:pt>
                <c:pt idx="313">
                  <c:v>42738</c:v>
                </c:pt>
                <c:pt idx="314">
                  <c:v>42745</c:v>
                </c:pt>
                <c:pt idx="315">
                  <c:v>42752</c:v>
                </c:pt>
                <c:pt idx="316">
                  <c:v>42759</c:v>
                </c:pt>
                <c:pt idx="317">
                  <c:v>42766</c:v>
                </c:pt>
                <c:pt idx="318">
                  <c:v>42773</c:v>
                </c:pt>
                <c:pt idx="319">
                  <c:v>42780</c:v>
                </c:pt>
                <c:pt idx="320">
                  <c:v>42787</c:v>
                </c:pt>
                <c:pt idx="321">
                  <c:v>42794</c:v>
                </c:pt>
                <c:pt idx="322">
                  <c:v>42801</c:v>
                </c:pt>
                <c:pt idx="323">
                  <c:v>42808</c:v>
                </c:pt>
                <c:pt idx="324">
                  <c:v>42815</c:v>
                </c:pt>
                <c:pt idx="325">
                  <c:v>42822</c:v>
                </c:pt>
                <c:pt idx="326">
                  <c:v>42829</c:v>
                </c:pt>
                <c:pt idx="327">
                  <c:v>42836</c:v>
                </c:pt>
                <c:pt idx="328">
                  <c:v>42843</c:v>
                </c:pt>
                <c:pt idx="329">
                  <c:v>42850</c:v>
                </c:pt>
                <c:pt idx="330">
                  <c:v>42857</c:v>
                </c:pt>
                <c:pt idx="331">
                  <c:v>42864</c:v>
                </c:pt>
                <c:pt idx="332">
                  <c:v>42871</c:v>
                </c:pt>
                <c:pt idx="333">
                  <c:v>42878</c:v>
                </c:pt>
                <c:pt idx="334">
                  <c:v>42885</c:v>
                </c:pt>
                <c:pt idx="335">
                  <c:v>42892</c:v>
                </c:pt>
                <c:pt idx="336">
                  <c:v>42899</c:v>
                </c:pt>
                <c:pt idx="337">
                  <c:v>42906</c:v>
                </c:pt>
                <c:pt idx="338">
                  <c:v>42913</c:v>
                </c:pt>
                <c:pt idx="339">
                  <c:v>42920</c:v>
                </c:pt>
                <c:pt idx="340">
                  <c:v>42927</c:v>
                </c:pt>
                <c:pt idx="341">
                  <c:v>42934</c:v>
                </c:pt>
                <c:pt idx="342">
                  <c:v>42941</c:v>
                </c:pt>
                <c:pt idx="343">
                  <c:v>42948</c:v>
                </c:pt>
                <c:pt idx="344">
                  <c:v>42955</c:v>
                </c:pt>
                <c:pt idx="345">
                  <c:v>42962</c:v>
                </c:pt>
                <c:pt idx="346">
                  <c:v>42969</c:v>
                </c:pt>
                <c:pt idx="347">
                  <c:v>42976</c:v>
                </c:pt>
                <c:pt idx="348">
                  <c:v>42983</c:v>
                </c:pt>
                <c:pt idx="349">
                  <c:v>42990</c:v>
                </c:pt>
                <c:pt idx="350">
                  <c:v>42997</c:v>
                </c:pt>
                <c:pt idx="351">
                  <c:v>43004</c:v>
                </c:pt>
                <c:pt idx="352">
                  <c:v>43011</c:v>
                </c:pt>
                <c:pt idx="353">
                  <c:v>43018</c:v>
                </c:pt>
                <c:pt idx="354">
                  <c:v>43025</c:v>
                </c:pt>
                <c:pt idx="355">
                  <c:v>43032</c:v>
                </c:pt>
                <c:pt idx="356">
                  <c:v>43039</c:v>
                </c:pt>
                <c:pt idx="357">
                  <c:v>43046</c:v>
                </c:pt>
                <c:pt idx="358">
                  <c:v>43053</c:v>
                </c:pt>
                <c:pt idx="359">
                  <c:v>43060</c:v>
                </c:pt>
                <c:pt idx="360">
                  <c:v>43067</c:v>
                </c:pt>
                <c:pt idx="361">
                  <c:v>43074</c:v>
                </c:pt>
                <c:pt idx="362">
                  <c:v>43081</c:v>
                </c:pt>
                <c:pt idx="363">
                  <c:v>43088</c:v>
                </c:pt>
                <c:pt idx="364">
                  <c:v>43095</c:v>
                </c:pt>
                <c:pt idx="365">
                  <c:v>43102</c:v>
                </c:pt>
                <c:pt idx="366">
                  <c:v>43109</c:v>
                </c:pt>
                <c:pt idx="367">
                  <c:v>43116</c:v>
                </c:pt>
                <c:pt idx="368">
                  <c:v>43123</c:v>
                </c:pt>
                <c:pt idx="369">
                  <c:v>43130</c:v>
                </c:pt>
                <c:pt idx="370">
                  <c:v>43137</c:v>
                </c:pt>
                <c:pt idx="371">
                  <c:v>43144</c:v>
                </c:pt>
                <c:pt idx="372">
                  <c:v>43151</c:v>
                </c:pt>
                <c:pt idx="373">
                  <c:v>43158</c:v>
                </c:pt>
                <c:pt idx="374">
                  <c:v>43165</c:v>
                </c:pt>
                <c:pt idx="375">
                  <c:v>43172</c:v>
                </c:pt>
                <c:pt idx="376">
                  <c:v>43179</c:v>
                </c:pt>
                <c:pt idx="377">
                  <c:v>43186</c:v>
                </c:pt>
                <c:pt idx="378">
                  <c:v>43193</c:v>
                </c:pt>
                <c:pt idx="379">
                  <c:v>43200</c:v>
                </c:pt>
                <c:pt idx="380">
                  <c:v>43207</c:v>
                </c:pt>
                <c:pt idx="381">
                  <c:v>43214</c:v>
                </c:pt>
                <c:pt idx="382">
                  <c:v>43221</c:v>
                </c:pt>
                <c:pt idx="383">
                  <c:v>43228</c:v>
                </c:pt>
                <c:pt idx="384">
                  <c:v>43235</c:v>
                </c:pt>
                <c:pt idx="385">
                  <c:v>43242</c:v>
                </c:pt>
                <c:pt idx="386">
                  <c:v>43249</c:v>
                </c:pt>
                <c:pt idx="387">
                  <c:v>43256</c:v>
                </c:pt>
                <c:pt idx="388">
                  <c:v>43263</c:v>
                </c:pt>
                <c:pt idx="389">
                  <c:v>43270</c:v>
                </c:pt>
                <c:pt idx="390">
                  <c:v>43277</c:v>
                </c:pt>
                <c:pt idx="391">
                  <c:v>43284</c:v>
                </c:pt>
                <c:pt idx="392">
                  <c:v>43291</c:v>
                </c:pt>
                <c:pt idx="393">
                  <c:v>43298</c:v>
                </c:pt>
                <c:pt idx="394">
                  <c:v>43305</c:v>
                </c:pt>
                <c:pt idx="395">
                  <c:v>43312</c:v>
                </c:pt>
                <c:pt idx="396">
                  <c:v>43319</c:v>
                </c:pt>
                <c:pt idx="397">
                  <c:v>43326</c:v>
                </c:pt>
                <c:pt idx="398">
                  <c:v>43333</c:v>
                </c:pt>
                <c:pt idx="399">
                  <c:v>43340</c:v>
                </c:pt>
                <c:pt idx="400">
                  <c:v>43347</c:v>
                </c:pt>
                <c:pt idx="401">
                  <c:v>43354</c:v>
                </c:pt>
                <c:pt idx="402">
                  <c:v>43361</c:v>
                </c:pt>
                <c:pt idx="403">
                  <c:v>43368</c:v>
                </c:pt>
                <c:pt idx="404">
                  <c:v>43375</c:v>
                </c:pt>
                <c:pt idx="405">
                  <c:v>43382</c:v>
                </c:pt>
                <c:pt idx="406">
                  <c:v>43389</c:v>
                </c:pt>
                <c:pt idx="407">
                  <c:v>43396</c:v>
                </c:pt>
                <c:pt idx="408">
                  <c:v>43403</c:v>
                </c:pt>
                <c:pt idx="409">
                  <c:v>43410</c:v>
                </c:pt>
                <c:pt idx="410">
                  <c:v>43417</c:v>
                </c:pt>
                <c:pt idx="411">
                  <c:v>43424</c:v>
                </c:pt>
                <c:pt idx="412">
                  <c:v>43431</c:v>
                </c:pt>
                <c:pt idx="413">
                  <c:v>43438</c:v>
                </c:pt>
                <c:pt idx="414">
                  <c:v>43445</c:v>
                </c:pt>
                <c:pt idx="415">
                  <c:v>43452</c:v>
                </c:pt>
                <c:pt idx="416">
                  <c:v>43459</c:v>
                </c:pt>
                <c:pt idx="417">
                  <c:v>43466</c:v>
                </c:pt>
                <c:pt idx="418">
                  <c:v>43473</c:v>
                </c:pt>
                <c:pt idx="419">
                  <c:v>43480</c:v>
                </c:pt>
                <c:pt idx="420">
                  <c:v>43487</c:v>
                </c:pt>
                <c:pt idx="421">
                  <c:v>43494</c:v>
                </c:pt>
                <c:pt idx="422">
                  <c:v>43501</c:v>
                </c:pt>
                <c:pt idx="423">
                  <c:v>43508</c:v>
                </c:pt>
                <c:pt idx="424">
                  <c:v>43515</c:v>
                </c:pt>
                <c:pt idx="425">
                  <c:v>43522</c:v>
                </c:pt>
                <c:pt idx="426">
                  <c:v>43529</c:v>
                </c:pt>
                <c:pt idx="427">
                  <c:v>43536</c:v>
                </c:pt>
                <c:pt idx="428">
                  <c:v>43543</c:v>
                </c:pt>
                <c:pt idx="429">
                  <c:v>43550</c:v>
                </c:pt>
                <c:pt idx="430">
                  <c:v>43557</c:v>
                </c:pt>
                <c:pt idx="431">
                  <c:v>43564</c:v>
                </c:pt>
                <c:pt idx="432">
                  <c:v>43571</c:v>
                </c:pt>
                <c:pt idx="433">
                  <c:v>43578</c:v>
                </c:pt>
                <c:pt idx="434">
                  <c:v>43585</c:v>
                </c:pt>
                <c:pt idx="435">
                  <c:v>43592</c:v>
                </c:pt>
                <c:pt idx="436">
                  <c:v>43599</c:v>
                </c:pt>
                <c:pt idx="437">
                  <c:v>43606</c:v>
                </c:pt>
                <c:pt idx="438">
                  <c:v>43613</c:v>
                </c:pt>
                <c:pt idx="439">
                  <c:v>43620</c:v>
                </c:pt>
                <c:pt idx="440">
                  <c:v>43627</c:v>
                </c:pt>
                <c:pt idx="441">
                  <c:v>43634</c:v>
                </c:pt>
                <c:pt idx="442">
                  <c:v>43641</c:v>
                </c:pt>
                <c:pt idx="443">
                  <c:v>43648</c:v>
                </c:pt>
                <c:pt idx="444">
                  <c:v>43655</c:v>
                </c:pt>
                <c:pt idx="445">
                  <c:v>43662</c:v>
                </c:pt>
                <c:pt idx="446">
                  <c:v>43669</c:v>
                </c:pt>
                <c:pt idx="447">
                  <c:v>43676</c:v>
                </c:pt>
                <c:pt idx="448">
                  <c:v>43683</c:v>
                </c:pt>
                <c:pt idx="449">
                  <c:v>43690</c:v>
                </c:pt>
                <c:pt idx="450">
                  <c:v>43697</c:v>
                </c:pt>
                <c:pt idx="451">
                  <c:v>43704</c:v>
                </c:pt>
                <c:pt idx="452">
                  <c:v>43711</c:v>
                </c:pt>
                <c:pt idx="453">
                  <c:v>43718</c:v>
                </c:pt>
                <c:pt idx="454">
                  <c:v>43725</c:v>
                </c:pt>
                <c:pt idx="455">
                  <c:v>43732</c:v>
                </c:pt>
                <c:pt idx="456">
                  <c:v>43739</c:v>
                </c:pt>
                <c:pt idx="457">
                  <c:v>43746</c:v>
                </c:pt>
                <c:pt idx="458">
                  <c:v>43753</c:v>
                </c:pt>
                <c:pt idx="459">
                  <c:v>43760</c:v>
                </c:pt>
                <c:pt idx="460">
                  <c:v>43767</c:v>
                </c:pt>
                <c:pt idx="461">
                  <c:v>43774</c:v>
                </c:pt>
                <c:pt idx="462">
                  <c:v>43781</c:v>
                </c:pt>
                <c:pt idx="463">
                  <c:v>43788</c:v>
                </c:pt>
                <c:pt idx="464">
                  <c:v>43795</c:v>
                </c:pt>
                <c:pt idx="465">
                  <c:v>43802</c:v>
                </c:pt>
                <c:pt idx="466">
                  <c:v>43809</c:v>
                </c:pt>
                <c:pt idx="467">
                  <c:v>43816</c:v>
                </c:pt>
                <c:pt idx="468">
                  <c:v>43823</c:v>
                </c:pt>
                <c:pt idx="469">
                  <c:v>43830</c:v>
                </c:pt>
                <c:pt idx="470">
                  <c:v>43837</c:v>
                </c:pt>
                <c:pt idx="471">
                  <c:v>43844</c:v>
                </c:pt>
                <c:pt idx="472">
                  <c:v>43851</c:v>
                </c:pt>
                <c:pt idx="473">
                  <c:v>43858</c:v>
                </c:pt>
                <c:pt idx="474">
                  <c:v>43865</c:v>
                </c:pt>
                <c:pt idx="475">
                  <c:v>43872</c:v>
                </c:pt>
                <c:pt idx="476">
                  <c:v>43879</c:v>
                </c:pt>
                <c:pt idx="477">
                  <c:v>43886</c:v>
                </c:pt>
                <c:pt idx="478">
                  <c:v>43893</c:v>
                </c:pt>
                <c:pt idx="479">
                  <c:v>43900</c:v>
                </c:pt>
                <c:pt idx="480">
                  <c:v>43907</c:v>
                </c:pt>
                <c:pt idx="481">
                  <c:v>43914</c:v>
                </c:pt>
                <c:pt idx="482">
                  <c:v>43921</c:v>
                </c:pt>
                <c:pt idx="483">
                  <c:v>43928</c:v>
                </c:pt>
                <c:pt idx="484">
                  <c:v>43935</c:v>
                </c:pt>
                <c:pt idx="485">
                  <c:v>43942</c:v>
                </c:pt>
                <c:pt idx="486">
                  <c:v>43949</c:v>
                </c:pt>
                <c:pt idx="487">
                  <c:v>43956</c:v>
                </c:pt>
                <c:pt idx="488">
                  <c:v>43963</c:v>
                </c:pt>
                <c:pt idx="489">
                  <c:v>43970</c:v>
                </c:pt>
                <c:pt idx="490">
                  <c:v>43977</c:v>
                </c:pt>
                <c:pt idx="491">
                  <c:v>43984</c:v>
                </c:pt>
                <c:pt idx="492">
                  <c:v>43991</c:v>
                </c:pt>
                <c:pt idx="493">
                  <c:v>43998</c:v>
                </c:pt>
                <c:pt idx="494">
                  <c:v>44005</c:v>
                </c:pt>
                <c:pt idx="495">
                  <c:v>44012</c:v>
                </c:pt>
                <c:pt idx="496">
                  <c:v>44019</c:v>
                </c:pt>
                <c:pt idx="497">
                  <c:v>44026</c:v>
                </c:pt>
                <c:pt idx="498">
                  <c:v>44033</c:v>
                </c:pt>
                <c:pt idx="499">
                  <c:v>44040</c:v>
                </c:pt>
                <c:pt idx="500">
                  <c:v>44047</c:v>
                </c:pt>
                <c:pt idx="501">
                  <c:v>44054</c:v>
                </c:pt>
                <c:pt idx="502">
                  <c:v>44061</c:v>
                </c:pt>
                <c:pt idx="503">
                  <c:v>44068</c:v>
                </c:pt>
                <c:pt idx="504">
                  <c:v>44075</c:v>
                </c:pt>
                <c:pt idx="505">
                  <c:v>44082</c:v>
                </c:pt>
                <c:pt idx="506">
                  <c:v>44089</c:v>
                </c:pt>
                <c:pt idx="507">
                  <c:v>44096</c:v>
                </c:pt>
                <c:pt idx="508">
                  <c:v>44103</c:v>
                </c:pt>
                <c:pt idx="509">
                  <c:v>44110</c:v>
                </c:pt>
                <c:pt idx="510">
                  <c:v>44117</c:v>
                </c:pt>
                <c:pt idx="511">
                  <c:v>44124</c:v>
                </c:pt>
                <c:pt idx="512">
                  <c:v>44131</c:v>
                </c:pt>
                <c:pt idx="513">
                  <c:v>44138</c:v>
                </c:pt>
                <c:pt idx="514">
                  <c:v>44145</c:v>
                </c:pt>
                <c:pt idx="515">
                  <c:v>44152</c:v>
                </c:pt>
                <c:pt idx="516">
                  <c:v>44159</c:v>
                </c:pt>
                <c:pt idx="517">
                  <c:v>44166</c:v>
                </c:pt>
                <c:pt idx="518">
                  <c:v>44173</c:v>
                </c:pt>
                <c:pt idx="519">
                  <c:v>44180</c:v>
                </c:pt>
                <c:pt idx="520">
                  <c:v>44187</c:v>
                </c:pt>
                <c:pt idx="521">
                  <c:v>44194</c:v>
                </c:pt>
                <c:pt idx="522">
                  <c:v>44201</c:v>
                </c:pt>
                <c:pt idx="523">
                  <c:v>44208</c:v>
                </c:pt>
                <c:pt idx="524">
                  <c:v>44215</c:v>
                </c:pt>
                <c:pt idx="525">
                  <c:v>44222</c:v>
                </c:pt>
                <c:pt idx="526">
                  <c:v>44229</c:v>
                </c:pt>
                <c:pt idx="527">
                  <c:v>44236</c:v>
                </c:pt>
                <c:pt idx="528">
                  <c:v>44243</c:v>
                </c:pt>
                <c:pt idx="529">
                  <c:v>44250</c:v>
                </c:pt>
                <c:pt idx="530">
                  <c:v>44257</c:v>
                </c:pt>
                <c:pt idx="531">
                  <c:v>44264</c:v>
                </c:pt>
                <c:pt idx="532">
                  <c:v>44271</c:v>
                </c:pt>
                <c:pt idx="533">
                  <c:v>44278</c:v>
                </c:pt>
                <c:pt idx="534">
                  <c:v>44285</c:v>
                </c:pt>
                <c:pt idx="535">
                  <c:v>44292</c:v>
                </c:pt>
                <c:pt idx="536">
                  <c:v>44299</c:v>
                </c:pt>
                <c:pt idx="537">
                  <c:v>44306</c:v>
                </c:pt>
                <c:pt idx="538">
                  <c:v>44313</c:v>
                </c:pt>
                <c:pt idx="539">
                  <c:v>44320</c:v>
                </c:pt>
                <c:pt idx="540">
                  <c:v>44327</c:v>
                </c:pt>
                <c:pt idx="541">
                  <c:v>44334</c:v>
                </c:pt>
                <c:pt idx="542">
                  <c:v>44341</c:v>
                </c:pt>
                <c:pt idx="543">
                  <c:v>44348</c:v>
                </c:pt>
                <c:pt idx="544">
                  <c:v>44355</c:v>
                </c:pt>
                <c:pt idx="545">
                  <c:v>44362</c:v>
                </c:pt>
                <c:pt idx="546">
                  <c:v>44369</c:v>
                </c:pt>
                <c:pt idx="547">
                  <c:v>44376</c:v>
                </c:pt>
                <c:pt idx="548">
                  <c:v>44383</c:v>
                </c:pt>
                <c:pt idx="549">
                  <c:v>44390</c:v>
                </c:pt>
                <c:pt idx="550">
                  <c:v>44397</c:v>
                </c:pt>
                <c:pt idx="551">
                  <c:v>44404</c:v>
                </c:pt>
                <c:pt idx="552">
                  <c:v>44411</c:v>
                </c:pt>
                <c:pt idx="553">
                  <c:v>44418</c:v>
                </c:pt>
                <c:pt idx="554">
                  <c:v>44425</c:v>
                </c:pt>
                <c:pt idx="555">
                  <c:v>44432</c:v>
                </c:pt>
                <c:pt idx="556">
                  <c:v>44439</c:v>
                </c:pt>
                <c:pt idx="557">
                  <c:v>44446</c:v>
                </c:pt>
                <c:pt idx="558">
                  <c:v>44453</c:v>
                </c:pt>
                <c:pt idx="559">
                  <c:v>44460</c:v>
                </c:pt>
                <c:pt idx="560">
                  <c:v>44467</c:v>
                </c:pt>
                <c:pt idx="561">
                  <c:v>44474</c:v>
                </c:pt>
                <c:pt idx="562">
                  <c:v>44481</c:v>
                </c:pt>
                <c:pt idx="563">
                  <c:v>44488</c:v>
                </c:pt>
                <c:pt idx="564">
                  <c:v>44495</c:v>
                </c:pt>
                <c:pt idx="565">
                  <c:v>44502</c:v>
                </c:pt>
                <c:pt idx="566">
                  <c:v>44509</c:v>
                </c:pt>
                <c:pt idx="567">
                  <c:v>44516</c:v>
                </c:pt>
                <c:pt idx="568">
                  <c:v>44523</c:v>
                </c:pt>
                <c:pt idx="569">
                  <c:v>44530</c:v>
                </c:pt>
                <c:pt idx="570">
                  <c:v>44537</c:v>
                </c:pt>
                <c:pt idx="571">
                  <c:v>44544</c:v>
                </c:pt>
                <c:pt idx="572">
                  <c:v>44551</c:v>
                </c:pt>
                <c:pt idx="573">
                  <c:v>44558</c:v>
                </c:pt>
                <c:pt idx="574">
                  <c:v>44565</c:v>
                </c:pt>
                <c:pt idx="575">
                  <c:v>44572</c:v>
                </c:pt>
                <c:pt idx="576">
                  <c:v>44579</c:v>
                </c:pt>
                <c:pt idx="577">
                  <c:v>44586</c:v>
                </c:pt>
                <c:pt idx="578">
                  <c:v>44593</c:v>
                </c:pt>
                <c:pt idx="579">
                  <c:v>44600</c:v>
                </c:pt>
                <c:pt idx="580">
                  <c:v>44607</c:v>
                </c:pt>
                <c:pt idx="581">
                  <c:v>44614</c:v>
                </c:pt>
                <c:pt idx="582">
                  <c:v>44621</c:v>
                </c:pt>
                <c:pt idx="583">
                  <c:v>44628</c:v>
                </c:pt>
                <c:pt idx="584">
                  <c:v>44635</c:v>
                </c:pt>
                <c:pt idx="585">
                  <c:v>44642</c:v>
                </c:pt>
                <c:pt idx="586">
                  <c:v>44649</c:v>
                </c:pt>
                <c:pt idx="587">
                  <c:v>44656</c:v>
                </c:pt>
                <c:pt idx="588">
                  <c:v>44663</c:v>
                </c:pt>
                <c:pt idx="589">
                  <c:v>44670</c:v>
                </c:pt>
                <c:pt idx="590">
                  <c:v>44677</c:v>
                </c:pt>
                <c:pt idx="591">
                  <c:v>44684</c:v>
                </c:pt>
                <c:pt idx="592">
                  <c:v>44691</c:v>
                </c:pt>
                <c:pt idx="593">
                  <c:v>44698</c:v>
                </c:pt>
                <c:pt idx="594">
                  <c:v>44705</c:v>
                </c:pt>
                <c:pt idx="595">
                  <c:v>44712</c:v>
                </c:pt>
                <c:pt idx="596">
                  <c:v>44719</c:v>
                </c:pt>
                <c:pt idx="597">
                  <c:v>44726</c:v>
                </c:pt>
                <c:pt idx="598">
                  <c:v>44733</c:v>
                </c:pt>
                <c:pt idx="599">
                  <c:v>44740</c:v>
                </c:pt>
                <c:pt idx="600">
                  <c:v>44747</c:v>
                </c:pt>
                <c:pt idx="601">
                  <c:v>44754</c:v>
                </c:pt>
                <c:pt idx="602">
                  <c:v>44761</c:v>
                </c:pt>
                <c:pt idx="603">
                  <c:v>44768</c:v>
                </c:pt>
                <c:pt idx="604">
                  <c:v>44775</c:v>
                </c:pt>
                <c:pt idx="605">
                  <c:v>44782</c:v>
                </c:pt>
                <c:pt idx="606">
                  <c:v>44789</c:v>
                </c:pt>
                <c:pt idx="607">
                  <c:v>44796</c:v>
                </c:pt>
                <c:pt idx="608">
                  <c:v>44803</c:v>
                </c:pt>
                <c:pt idx="609">
                  <c:v>44810</c:v>
                </c:pt>
                <c:pt idx="610">
                  <c:v>44817</c:v>
                </c:pt>
                <c:pt idx="611">
                  <c:v>44824</c:v>
                </c:pt>
                <c:pt idx="612">
                  <c:v>44831</c:v>
                </c:pt>
                <c:pt idx="613">
                  <c:v>44838</c:v>
                </c:pt>
                <c:pt idx="614">
                  <c:v>44845</c:v>
                </c:pt>
                <c:pt idx="615">
                  <c:v>44852</c:v>
                </c:pt>
                <c:pt idx="616">
                  <c:v>44859</c:v>
                </c:pt>
                <c:pt idx="617">
                  <c:v>44866</c:v>
                </c:pt>
                <c:pt idx="618">
                  <c:v>44873</c:v>
                </c:pt>
                <c:pt idx="619">
                  <c:v>44880</c:v>
                </c:pt>
                <c:pt idx="620">
                  <c:v>44887</c:v>
                </c:pt>
                <c:pt idx="621">
                  <c:v>44894</c:v>
                </c:pt>
                <c:pt idx="622">
                  <c:v>44901</c:v>
                </c:pt>
                <c:pt idx="623">
                  <c:v>44908</c:v>
                </c:pt>
                <c:pt idx="624">
                  <c:v>44915</c:v>
                </c:pt>
                <c:pt idx="625">
                  <c:v>44922</c:v>
                </c:pt>
                <c:pt idx="626">
                  <c:v>44929</c:v>
                </c:pt>
                <c:pt idx="627">
                  <c:v>44936</c:v>
                </c:pt>
                <c:pt idx="628">
                  <c:v>44943</c:v>
                </c:pt>
                <c:pt idx="629">
                  <c:v>44950</c:v>
                </c:pt>
                <c:pt idx="630">
                  <c:v>44957</c:v>
                </c:pt>
                <c:pt idx="631">
                  <c:v>44964</c:v>
                </c:pt>
                <c:pt idx="632">
                  <c:v>44971</c:v>
                </c:pt>
                <c:pt idx="633">
                  <c:v>44978</c:v>
                </c:pt>
                <c:pt idx="634">
                  <c:v>44985</c:v>
                </c:pt>
                <c:pt idx="635">
                  <c:v>44992</c:v>
                </c:pt>
                <c:pt idx="636">
                  <c:v>44999</c:v>
                </c:pt>
                <c:pt idx="637">
                  <c:v>45006</c:v>
                </c:pt>
                <c:pt idx="638">
                  <c:v>45013</c:v>
                </c:pt>
                <c:pt idx="639">
                  <c:v>45020</c:v>
                </c:pt>
                <c:pt idx="640">
                  <c:v>45027</c:v>
                </c:pt>
                <c:pt idx="641">
                  <c:v>45034</c:v>
                </c:pt>
                <c:pt idx="642">
                  <c:v>45041</c:v>
                </c:pt>
                <c:pt idx="643">
                  <c:v>45048</c:v>
                </c:pt>
                <c:pt idx="644">
                  <c:v>45055</c:v>
                </c:pt>
                <c:pt idx="645">
                  <c:v>45062</c:v>
                </c:pt>
                <c:pt idx="646">
                  <c:v>45069</c:v>
                </c:pt>
                <c:pt idx="647">
                  <c:v>45076</c:v>
                </c:pt>
                <c:pt idx="648">
                  <c:v>45083</c:v>
                </c:pt>
                <c:pt idx="649">
                  <c:v>45090</c:v>
                </c:pt>
                <c:pt idx="650">
                  <c:v>45097</c:v>
                </c:pt>
                <c:pt idx="651">
                  <c:v>45104</c:v>
                </c:pt>
                <c:pt idx="652">
                  <c:v>45111</c:v>
                </c:pt>
                <c:pt idx="653">
                  <c:v>45118</c:v>
                </c:pt>
                <c:pt idx="654">
                  <c:v>45125</c:v>
                </c:pt>
                <c:pt idx="655">
                  <c:v>45132</c:v>
                </c:pt>
                <c:pt idx="656">
                  <c:v>45139</c:v>
                </c:pt>
                <c:pt idx="657">
                  <c:v>45146</c:v>
                </c:pt>
                <c:pt idx="658">
                  <c:v>45153</c:v>
                </c:pt>
                <c:pt idx="659">
                  <c:v>45160</c:v>
                </c:pt>
                <c:pt idx="660">
                  <c:v>45167</c:v>
                </c:pt>
                <c:pt idx="661">
                  <c:v>45174</c:v>
                </c:pt>
                <c:pt idx="662">
                  <c:v>45181</c:v>
                </c:pt>
                <c:pt idx="663">
                  <c:v>45188</c:v>
                </c:pt>
                <c:pt idx="664">
                  <c:v>45195</c:v>
                </c:pt>
                <c:pt idx="665">
                  <c:v>45202</c:v>
                </c:pt>
                <c:pt idx="666">
                  <c:v>45209</c:v>
                </c:pt>
                <c:pt idx="667">
                  <c:v>45216</c:v>
                </c:pt>
                <c:pt idx="668">
                  <c:v>45223</c:v>
                </c:pt>
                <c:pt idx="669">
                  <c:v>45230</c:v>
                </c:pt>
                <c:pt idx="670">
                  <c:v>45237</c:v>
                </c:pt>
                <c:pt idx="671">
                  <c:v>45244</c:v>
                </c:pt>
                <c:pt idx="672">
                  <c:v>45251</c:v>
                </c:pt>
                <c:pt idx="673">
                  <c:v>45258</c:v>
                </c:pt>
                <c:pt idx="674">
                  <c:v>45265</c:v>
                </c:pt>
                <c:pt idx="675">
                  <c:v>45272</c:v>
                </c:pt>
                <c:pt idx="676">
                  <c:v>45279</c:v>
                </c:pt>
                <c:pt idx="677">
                  <c:v>45286</c:v>
                </c:pt>
                <c:pt idx="678">
                  <c:v>45293</c:v>
                </c:pt>
                <c:pt idx="679">
                  <c:v>45300</c:v>
                </c:pt>
                <c:pt idx="680">
                  <c:v>45307</c:v>
                </c:pt>
                <c:pt idx="681">
                  <c:v>45314</c:v>
                </c:pt>
                <c:pt idx="682">
                  <c:v>45321</c:v>
                </c:pt>
                <c:pt idx="683">
                  <c:v>45328</c:v>
                </c:pt>
                <c:pt idx="684">
                  <c:v>45335</c:v>
                </c:pt>
                <c:pt idx="685">
                  <c:v>45342</c:v>
                </c:pt>
                <c:pt idx="686">
                  <c:v>45349</c:v>
                </c:pt>
                <c:pt idx="687">
                  <c:v>45356</c:v>
                </c:pt>
                <c:pt idx="688">
                  <c:v>45363</c:v>
                </c:pt>
                <c:pt idx="689">
                  <c:v>45370</c:v>
                </c:pt>
                <c:pt idx="690">
                  <c:v>45377</c:v>
                </c:pt>
                <c:pt idx="691">
                  <c:v>45384</c:v>
                </c:pt>
                <c:pt idx="692">
                  <c:v>45391</c:v>
                </c:pt>
                <c:pt idx="693">
                  <c:v>45398</c:v>
                </c:pt>
                <c:pt idx="694">
                  <c:v>45405</c:v>
                </c:pt>
                <c:pt idx="695">
                  <c:v>45412</c:v>
                </c:pt>
                <c:pt idx="696">
                  <c:v>45419</c:v>
                </c:pt>
                <c:pt idx="697">
                  <c:v>45426</c:v>
                </c:pt>
                <c:pt idx="698">
                  <c:v>45433</c:v>
                </c:pt>
                <c:pt idx="699">
                  <c:v>45440</c:v>
                </c:pt>
                <c:pt idx="700">
                  <c:v>45447</c:v>
                </c:pt>
                <c:pt idx="701">
                  <c:v>45454</c:v>
                </c:pt>
                <c:pt idx="702">
                  <c:v>45461</c:v>
                </c:pt>
                <c:pt idx="703">
                  <c:v>45468</c:v>
                </c:pt>
                <c:pt idx="704">
                  <c:v>45475</c:v>
                </c:pt>
                <c:pt idx="705">
                  <c:v>45482</c:v>
                </c:pt>
                <c:pt idx="706">
                  <c:v>45489</c:v>
                </c:pt>
                <c:pt idx="707">
                  <c:v>45496</c:v>
                </c:pt>
                <c:pt idx="708">
                  <c:v>45503</c:v>
                </c:pt>
                <c:pt idx="709">
                  <c:v>45510</c:v>
                </c:pt>
                <c:pt idx="710">
                  <c:v>45517</c:v>
                </c:pt>
                <c:pt idx="711">
                  <c:v>45524</c:v>
                </c:pt>
                <c:pt idx="712">
                  <c:v>45531</c:v>
                </c:pt>
                <c:pt idx="713">
                  <c:v>45538</c:v>
                </c:pt>
                <c:pt idx="714">
                  <c:v>45545</c:v>
                </c:pt>
                <c:pt idx="715">
                  <c:v>45552</c:v>
                </c:pt>
                <c:pt idx="716">
                  <c:v>45559</c:v>
                </c:pt>
                <c:pt idx="717">
                  <c:v>45566</c:v>
                </c:pt>
                <c:pt idx="718">
                  <c:v>45573</c:v>
                </c:pt>
                <c:pt idx="719">
                  <c:v>45580</c:v>
                </c:pt>
                <c:pt idx="720">
                  <c:v>45587</c:v>
                </c:pt>
                <c:pt idx="721">
                  <c:v>45594</c:v>
                </c:pt>
                <c:pt idx="722">
                  <c:v>45601</c:v>
                </c:pt>
                <c:pt idx="723">
                  <c:v>45608</c:v>
                </c:pt>
                <c:pt idx="724">
                  <c:v>45615</c:v>
                </c:pt>
                <c:pt idx="725">
                  <c:v>45622</c:v>
                </c:pt>
                <c:pt idx="726">
                  <c:v>45629</c:v>
                </c:pt>
                <c:pt idx="727">
                  <c:v>45636</c:v>
                </c:pt>
                <c:pt idx="728">
                  <c:v>45643</c:v>
                </c:pt>
                <c:pt idx="729">
                  <c:v>45650</c:v>
                </c:pt>
                <c:pt idx="730">
                  <c:v>45657</c:v>
                </c:pt>
                <c:pt idx="731">
                  <c:v>45664</c:v>
                </c:pt>
                <c:pt idx="732">
                  <c:v>45671</c:v>
                </c:pt>
                <c:pt idx="733">
                  <c:v>45678</c:v>
                </c:pt>
                <c:pt idx="734">
                  <c:v>45685</c:v>
                </c:pt>
                <c:pt idx="735">
                  <c:v>45692</c:v>
                </c:pt>
                <c:pt idx="736">
                  <c:v>45699</c:v>
                </c:pt>
                <c:pt idx="737">
                  <c:v>45706</c:v>
                </c:pt>
                <c:pt idx="738">
                  <c:v>45713</c:v>
                </c:pt>
                <c:pt idx="739">
                  <c:v>45720</c:v>
                </c:pt>
                <c:pt idx="740">
                  <c:v>45727</c:v>
                </c:pt>
                <c:pt idx="741">
                  <c:v>45734</c:v>
                </c:pt>
                <c:pt idx="742">
                  <c:v>45741</c:v>
                </c:pt>
                <c:pt idx="743">
                  <c:v>45748</c:v>
                </c:pt>
                <c:pt idx="744">
                  <c:v>45755</c:v>
                </c:pt>
                <c:pt idx="745">
                  <c:v>45762</c:v>
                </c:pt>
                <c:pt idx="746">
                  <c:v>45769</c:v>
                </c:pt>
                <c:pt idx="747">
                  <c:v>45776</c:v>
                </c:pt>
                <c:pt idx="748">
                  <c:v>45783</c:v>
                </c:pt>
                <c:pt idx="749">
                  <c:v>45790</c:v>
                </c:pt>
                <c:pt idx="750">
                  <c:v>45797</c:v>
                </c:pt>
                <c:pt idx="751">
                  <c:v>45804</c:v>
                </c:pt>
                <c:pt idx="752">
                  <c:v>45811</c:v>
                </c:pt>
                <c:pt idx="753">
                  <c:v>45818</c:v>
                </c:pt>
                <c:pt idx="754">
                  <c:v>45825</c:v>
                </c:pt>
                <c:pt idx="755">
                  <c:v>45832</c:v>
                </c:pt>
                <c:pt idx="756">
                  <c:v>45839</c:v>
                </c:pt>
                <c:pt idx="757">
                  <c:v>45846</c:v>
                </c:pt>
                <c:pt idx="758">
                  <c:v>45853</c:v>
                </c:pt>
                <c:pt idx="759">
                  <c:v>45860</c:v>
                </c:pt>
                <c:pt idx="760">
                  <c:v>45867</c:v>
                </c:pt>
                <c:pt idx="761">
                  <c:v>45874</c:v>
                </c:pt>
                <c:pt idx="762">
                  <c:v>45881</c:v>
                </c:pt>
                <c:pt idx="763">
                  <c:v>45888</c:v>
                </c:pt>
                <c:pt idx="764">
                  <c:v>45895</c:v>
                </c:pt>
                <c:pt idx="765">
                  <c:v>45902</c:v>
                </c:pt>
                <c:pt idx="766">
                  <c:v>45909</c:v>
                </c:pt>
                <c:pt idx="767">
                  <c:v>45916</c:v>
                </c:pt>
                <c:pt idx="768">
                  <c:v>45923</c:v>
                </c:pt>
                <c:pt idx="769">
                  <c:v>45930</c:v>
                </c:pt>
                <c:pt idx="770">
                  <c:v>45937</c:v>
                </c:pt>
                <c:pt idx="771">
                  <c:v>45944</c:v>
                </c:pt>
                <c:pt idx="772">
                  <c:v>45951</c:v>
                </c:pt>
                <c:pt idx="773">
                  <c:v>45958</c:v>
                </c:pt>
                <c:pt idx="774">
                  <c:v>45965</c:v>
                </c:pt>
                <c:pt idx="775">
                  <c:v>45972</c:v>
                </c:pt>
                <c:pt idx="776">
                  <c:v>45979</c:v>
                </c:pt>
                <c:pt idx="777">
                  <c:v>45986</c:v>
                </c:pt>
                <c:pt idx="778">
                  <c:v>45993</c:v>
                </c:pt>
                <c:pt idx="779">
                  <c:v>46000</c:v>
                </c:pt>
                <c:pt idx="780">
                  <c:v>46007</c:v>
                </c:pt>
                <c:pt idx="781">
                  <c:v>46014</c:v>
                </c:pt>
                <c:pt idx="782">
                  <c:v>46021</c:v>
                </c:pt>
                <c:pt idx="783">
                  <c:v>46028</c:v>
                </c:pt>
                <c:pt idx="784">
                  <c:v>46035</c:v>
                </c:pt>
                <c:pt idx="785">
                  <c:v>46042</c:v>
                </c:pt>
                <c:pt idx="786">
                  <c:v>46049</c:v>
                </c:pt>
                <c:pt idx="787">
                  <c:v>46056</c:v>
                </c:pt>
                <c:pt idx="788">
                  <c:v>46063</c:v>
                </c:pt>
                <c:pt idx="789">
                  <c:v>46070</c:v>
                </c:pt>
                <c:pt idx="790">
                  <c:v>46077</c:v>
                </c:pt>
                <c:pt idx="791">
                  <c:v>46084</c:v>
                </c:pt>
                <c:pt idx="792">
                  <c:v>46091</c:v>
                </c:pt>
                <c:pt idx="793">
                  <c:v>46098</c:v>
                </c:pt>
                <c:pt idx="794">
                  <c:v>46105</c:v>
                </c:pt>
                <c:pt idx="795">
                  <c:v>46112</c:v>
                </c:pt>
                <c:pt idx="796">
                  <c:v>46119</c:v>
                </c:pt>
                <c:pt idx="797">
                  <c:v>46126</c:v>
                </c:pt>
                <c:pt idx="798">
                  <c:v>46133</c:v>
                </c:pt>
                <c:pt idx="799">
                  <c:v>46140</c:v>
                </c:pt>
                <c:pt idx="800">
                  <c:v>46147</c:v>
                </c:pt>
                <c:pt idx="801">
                  <c:v>46154</c:v>
                </c:pt>
                <c:pt idx="802">
                  <c:v>46161</c:v>
                </c:pt>
                <c:pt idx="803">
                  <c:v>46168</c:v>
                </c:pt>
              </c:numCache>
            </c:numRef>
          </c:cat>
          <c:val>
            <c:numRef>
              <c:f>'T5-7'!$C$159:$C$962</c:f>
              <c:numCache>
                <c:formatCode>0.00</c:formatCode>
                <c:ptCount val="804"/>
                <c:pt idx="0">
                  <c:v>11.5</c:v>
                </c:pt>
                <c:pt idx="1">
                  <c:v>11.5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.25</c:v>
                </c:pt>
                <c:pt idx="10">
                  <c:v>12.25</c:v>
                </c:pt>
                <c:pt idx="11">
                  <c:v>12.25</c:v>
                </c:pt>
                <c:pt idx="12">
                  <c:v>12.25</c:v>
                </c:pt>
                <c:pt idx="13">
                  <c:v>12.5</c:v>
                </c:pt>
                <c:pt idx="14">
                  <c:v>12.5</c:v>
                </c:pt>
                <c:pt idx="15">
                  <c:v>12.5</c:v>
                </c:pt>
                <c:pt idx="16">
                  <c:v>12.5</c:v>
                </c:pt>
                <c:pt idx="17">
                  <c:v>12.5</c:v>
                </c:pt>
                <c:pt idx="18">
                  <c:v>12.5</c:v>
                </c:pt>
                <c:pt idx="19">
                  <c:v>12.5</c:v>
                </c:pt>
                <c:pt idx="20">
                  <c:v>12.5</c:v>
                </c:pt>
                <c:pt idx="21">
                  <c:v>12.5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1.75</c:v>
                </c:pt>
                <c:pt idx="27">
                  <c:v>11.75</c:v>
                </c:pt>
                <c:pt idx="28">
                  <c:v>11.75</c:v>
                </c:pt>
                <c:pt idx="29">
                  <c:v>11.75</c:v>
                </c:pt>
                <c:pt idx="30">
                  <c:v>11.75</c:v>
                </c:pt>
                <c:pt idx="31">
                  <c:v>11.75</c:v>
                </c:pt>
                <c:pt idx="32">
                  <c:v>11.75</c:v>
                </c:pt>
                <c:pt idx="33">
                  <c:v>11.75</c:v>
                </c:pt>
                <c:pt idx="34">
                  <c:v>11.75</c:v>
                </c:pt>
                <c:pt idx="35">
                  <c:v>11.25</c:v>
                </c:pt>
                <c:pt idx="36">
                  <c:v>11.25</c:v>
                </c:pt>
                <c:pt idx="37">
                  <c:v>11.25</c:v>
                </c:pt>
                <c:pt idx="38">
                  <c:v>11.25</c:v>
                </c:pt>
                <c:pt idx="39">
                  <c:v>10.75</c:v>
                </c:pt>
                <c:pt idx="40">
                  <c:v>10.75</c:v>
                </c:pt>
                <c:pt idx="41">
                  <c:v>10.75</c:v>
                </c:pt>
                <c:pt idx="42">
                  <c:v>10.75</c:v>
                </c:pt>
                <c:pt idx="43">
                  <c:v>10.75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9.75</c:v>
                </c:pt>
                <c:pt idx="49">
                  <c:v>9.75</c:v>
                </c:pt>
                <c:pt idx="50">
                  <c:v>9.75</c:v>
                </c:pt>
                <c:pt idx="51">
                  <c:v>9.75</c:v>
                </c:pt>
                <c:pt idx="52">
                  <c:v>9.75</c:v>
                </c:pt>
                <c:pt idx="53">
                  <c:v>9.75</c:v>
                </c:pt>
                <c:pt idx="54">
                  <c:v>9.5</c:v>
                </c:pt>
                <c:pt idx="55">
                  <c:v>9.5</c:v>
                </c:pt>
                <c:pt idx="56">
                  <c:v>9.5</c:v>
                </c:pt>
                <c:pt idx="57">
                  <c:v>9.5</c:v>
                </c:pt>
                <c:pt idx="58">
                  <c:v>9.5</c:v>
                </c:pt>
                <c:pt idx="59">
                  <c:v>9.5</c:v>
                </c:pt>
                <c:pt idx="60">
                  <c:v>9.5</c:v>
                </c:pt>
                <c:pt idx="61">
                  <c:v>9.5</c:v>
                </c:pt>
                <c:pt idx="62">
                  <c:v>9.5</c:v>
                </c:pt>
                <c:pt idx="63">
                  <c:v>9.5</c:v>
                </c:pt>
                <c:pt idx="64">
                  <c:v>9.5</c:v>
                </c:pt>
                <c:pt idx="65">
                  <c:v>9.5</c:v>
                </c:pt>
                <c:pt idx="66">
                  <c:v>9.5</c:v>
                </c:pt>
                <c:pt idx="67">
                  <c:v>9.5</c:v>
                </c:pt>
                <c:pt idx="68">
                  <c:v>9.5</c:v>
                </c:pt>
                <c:pt idx="69">
                  <c:v>9.5</c:v>
                </c:pt>
                <c:pt idx="70">
                  <c:v>9.5</c:v>
                </c:pt>
                <c:pt idx="71">
                  <c:v>9.5</c:v>
                </c:pt>
                <c:pt idx="72">
                  <c:v>9.5</c:v>
                </c:pt>
                <c:pt idx="73">
                  <c:v>9.5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 formatCode="General">
                  <c:v>10.25</c:v>
                </c:pt>
                <c:pt idx="80" formatCode="General">
                  <c:v>10.25</c:v>
                </c:pt>
                <c:pt idx="81" formatCode="General">
                  <c:v>10.25</c:v>
                </c:pt>
                <c:pt idx="82" formatCode="General">
                  <c:v>10.25</c:v>
                </c:pt>
                <c:pt idx="83">
                  <c:v>10.5</c:v>
                </c:pt>
                <c:pt idx="84">
                  <c:v>10.5</c:v>
                </c:pt>
                <c:pt idx="85">
                  <c:v>10.5</c:v>
                </c:pt>
                <c:pt idx="86">
                  <c:v>10.5</c:v>
                </c:pt>
                <c:pt idx="87">
                  <c:v>10.5</c:v>
                </c:pt>
                <c:pt idx="88">
                  <c:v>10.5</c:v>
                </c:pt>
                <c:pt idx="89">
                  <c:v>10.5</c:v>
                </c:pt>
                <c:pt idx="90">
                  <c:v>10.5</c:v>
                </c:pt>
                <c:pt idx="91">
                  <c:v>10.5</c:v>
                </c:pt>
                <c:pt idx="92" formatCode="General">
                  <c:v>10.75</c:v>
                </c:pt>
                <c:pt idx="93" formatCode="General">
                  <c:v>10.75</c:v>
                </c:pt>
                <c:pt idx="94" formatCode="General">
                  <c:v>10.75</c:v>
                </c:pt>
                <c:pt idx="95" formatCode="General">
                  <c:v>10.75</c:v>
                </c:pt>
                <c:pt idx="96" formatCode="General">
                  <c:v>10.95</c:v>
                </c:pt>
                <c:pt idx="97" formatCode="General">
                  <c:v>10.95</c:v>
                </c:pt>
                <c:pt idx="98" formatCode="General">
                  <c:v>10.95</c:v>
                </c:pt>
                <c:pt idx="99" formatCode="General">
                  <c:v>10.95</c:v>
                </c:pt>
                <c:pt idx="100" formatCode="General">
                  <c:v>10.95</c:v>
                </c:pt>
                <c:pt idx="101" formatCode="General">
                  <c:v>11.25</c:v>
                </c:pt>
                <c:pt idx="102" formatCode="General">
                  <c:v>11.25</c:v>
                </c:pt>
                <c:pt idx="103" formatCode="General">
                  <c:v>11.25</c:v>
                </c:pt>
                <c:pt idx="104" formatCode="General">
                  <c:v>11.25</c:v>
                </c:pt>
                <c:pt idx="105" formatCode="General">
                  <c:v>11.25</c:v>
                </c:pt>
                <c:pt idx="106" formatCode="General">
                  <c:v>11.5</c:v>
                </c:pt>
                <c:pt idx="107" formatCode="General">
                  <c:v>11.5</c:v>
                </c:pt>
                <c:pt idx="108" formatCode="General">
                  <c:v>11.5</c:v>
                </c:pt>
                <c:pt idx="109" formatCode="General">
                  <c:v>11.75</c:v>
                </c:pt>
                <c:pt idx="110" formatCode="General">
                  <c:v>11.75</c:v>
                </c:pt>
                <c:pt idx="111" formatCode="General">
                  <c:v>11.75</c:v>
                </c:pt>
                <c:pt idx="112" formatCode="General">
                  <c:v>11.75</c:v>
                </c:pt>
                <c:pt idx="113" formatCode="General">
                  <c:v>11.75</c:v>
                </c:pt>
                <c:pt idx="114" formatCode="General">
                  <c:v>11.75</c:v>
                </c:pt>
                <c:pt idx="115" formatCode="General">
                  <c:v>11.75</c:v>
                </c:pt>
                <c:pt idx="116" formatCode="General">
                  <c:v>11.75</c:v>
                </c:pt>
                <c:pt idx="117" formatCode="General">
                  <c:v>11.75</c:v>
                </c:pt>
                <c:pt idx="118" formatCode="General">
                  <c:v>11.75</c:v>
                </c:pt>
                <c:pt idx="119" formatCode="General">
                  <c:v>11.75</c:v>
                </c:pt>
                <c:pt idx="120" formatCode="General">
                  <c:v>11.75</c:v>
                </c:pt>
                <c:pt idx="121" formatCode="General">
                  <c:v>11.75</c:v>
                </c:pt>
                <c:pt idx="122" formatCode="General">
                  <c:v>11.75</c:v>
                </c:pt>
                <c:pt idx="123" formatCode="General">
                  <c:v>11.25</c:v>
                </c:pt>
                <c:pt idx="124" formatCode="General">
                  <c:v>11.25</c:v>
                </c:pt>
                <c:pt idx="125" formatCode="General">
                  <c:v>11.25</c:v>
                </c:pt>
                <c:pt idx="126" formatCode="General">
                  <c:v>11.25</c:v>
                </c:pt>
                <c:pt idx="127" formatCode="General">
                  <c:v>11</c:v>
                </c:pt>
                <c:pt idx="128" formatCode="General">
                  <c:v>11</c:v>
                </c:pt>
                <c:pt idx="129" formatCode="General">
                  <c:v>11</c:v>
                </c:pt>
                <c:pt idx="130" formatCode="General">
                  <c:v>11</c:v>
                </c:pt>
                <c:pt idx="131" formatCode="General">
                  <c:v>11</c:v>
                </c:pt>
                <c:pt idx="132" formatCode="General">
                  <c:v>11</c:v>
                </c:pt>
                <c:pt idx="133" formatCode="General">
                  <c:v>11</c:v>
                </c:pt>
                <c:pt idx="134" formatCode="General">
                  <c:v>11</c:v>
                </c:pt>
                <c:pt idx="135" formatCode="General">
                  <c:v>11</c:v>
                </c:pt>
                <c:pt idx="136" formatCode="General">
                  <c:v>11</c:v>
                </c:pt>
                <c:pt idx="137" formatCode="General">
                  <c:v>11</c:v>
                </c:pt>
                <c:pt idx="138" formatCode="General">
                  <c:v>11</c:v>
                </c:pt>
                <c:pt idx="139" formatCode="General">
                  <c:v>11</c:v>
                </c:pt>
                <c:pt idx="140" formatCode="General">
                  <c:v>11</c:v>
                </c:pt>
                <c:pt idx="141" formatCode="General">
                  <c:v>11</c:v>
                </c:pt>
                <c:pt idx="142" formatCode="General">
                  <c:v>11</c:v>
                </c:pt>
                <c:pt idx="143" formatCode="General">
                  <c:v>11</c:v>
                </c:pt>
                <c:pt idx="144" formatCode="General">
                  <c:v>11</c:v>
                </c:pt>
                <c:pt idx="145" formatCode="General">
                  <c:v>11</c:v>
                </c:pt>
                <c:pt idx="146" formatCode="General">
                  <c:v>10.5</c:v>
                </c:pt>
                <c:pt idx="147" formatCode="General">
                  <c:v>10.5</c:v>
                </c:pt>
                <c:pt idx="148" formatCode="General">
                  <c:v>10.5</c:v>
                </c:pt>
                <c:pt idx="149" formatCode="General">
                  <c:v>10</c:v>
                </c:pt>
                <c:pt idx="150" formatCode="General">
                  <c:v>10</c:v>
                </c:pt>
                <c:pt idx="151" formatCode="General">
                  <c:v>10</c:v>
                </c:pt>
                <c:pt idx="152" formatCode="General">
                  <c:v>10</c:v>
                </c:pt>
                <c:pt idx="153" formatCode="General">
                  <c:v>10</c:v>
                </c:pt>
                <c:pt idx="154" formatCode="General">
                  <c:v>9.5</c:v>
                </c:pt>
                <c:pt idx="155" formatCode="General">
                  <c:v>9.5</c:v>
                </c:pt>
                <c:pt idx="156" formatCode="General">
                  <c:v>9.5</c:v>
                </c:pt>
                <c:pt idx="157" formatCode="General">
                  <c:v>9.5</c:v>
                </c:pt>
                <c:pt idx="158" formatCode="General">
                  <c:v>9.5</c:v>
                </c:pt>
                <c:pt idx="159" formatCode="General">
                  <c:v>9.5</c:v>
                </c:pt>
                <c:pt idx="160" formatCode="General">
                  <c:v>9.5</c:v>
                </c:pt>
                <c:pt idx="161" formatCode="General">
                  <c:v>9.5</c:v>
                </c:pt>
                <c:pt idx="162" formatCode="General">
                  <c:v>9.5</c:v>
                </c:pt>
                <c:pt idx="163" formatCode="General">
                  <c:v>9.5</c:v>
                </c:pt>
                <c:pt idx="164" formatCode="General">
                  <c:v>9.5</c:v>
                </c:pt>
                <c:pt idx="165" formatCode="General">
                  <c:v>9.5</c:v>
                </c:pt>
                <c:pt idx="166" formatCode="General">
                  <c:v>9.5</c:v>
                </c:pt>
                <c:pt idx="167" formatCode="General">
                  <c:v>9.5</c:v>
                </c:pt>
                <c:pt idx="168" formatCode="General">
                  <c:v>9.5</c:v>
                </c:pt>
                <c:pt idx="169" formatCode="General">
                  <c:v>9.5</c:v>
                </c:pt>
                <c:pt idx="170" formatCode="General">
                  <c:v>9.5</c:v>
                </c:pt>
                <c:pt idx="171" formatCode="General">
                  <c:v>9.5</c:v>
                </c:pt>
                <c:pt idx="172" formatCode="General">
                  <c:v>9.5</c:v>
                </c:pt>
                <c:pt idx="173" formatCode="General">
                  <c:v>9.5</c:v>
                </c:pt>
                <c:pt idx="174" formatCode="General">
                  <c:v>9.5</c:v>
                </c:pt>
                <c:pt idx="175" formatCode="General">
                  <c:v>9</c:v>
                </c:pt>
                <c:pt idx="176" formatCode="General">
                  <c:v>9</c:v>
                </c:pt>
                <c:pt idx="177" formatCode="General">
                  <c:v>9</c:v>
                </c:pt>
                <c:pt idx="178" formatCode="General">
                  <c:v>9</c:v>
                </c:pt>
                <c:pt idx="179" formatCode="General">
                  <c:v>9</c:v>
                </c:pt>
                <c:pt idx="180" formatCode="General">
                  <c:v>8.5</c:v>
                </c:pt>
                <c:pt idx="181" formatCode="General">
                  <c:v>8.5</c:v>
                </c:pt>
                <c:pt idx="182" formatCode="General">
                  <c:v>8.5</c:v>
                </c:pt>
                <c:pt idx="183" formatCode="General">
                  <c:v>8.5</c:v>
                </c:pt>
                <c:pt idx="184" formatCode="General">
                  <c:v>8.5</c:v>
                </c:pt>
                <c:pt idx="185" formatCode="General">
                  <c:v>8.5</c:v>
                </c:pt>
                <c:pt idx="186" formatCode="General">
                  <c:v>8.5</c:v>
                </c:pt>
                <c:pt idx="187" formatCode="General">
                  <c:v>8.5</c:v>
                </c:pt>
                <c:pt idx="188" formatCode="General">
                  <c:v>8.5</c:v>
                </c:pt>
                <c:pt idx="189" formatCode="General">
                  <c:v>8.5</c:v>
                </c:pt>
                <c:pt idx="190" formatCode="General">
                  <c:v>8.5</c:v>
                </c:pt>
                <c:pt idx="191" formatCode="General">
                  <c:v>8.5</c:v>
                </c:pt>
                <c:pt idx="192" formatCode="General">
                  <c:v>8.5</c:v>
                </c:pt>
                <c:pt idx="193" formatCode="General">
                  <c:v>8.5</c:v>
                </c:pt>
                <c:pt idx="194" formatCode="General">
                  <c:v>8.5</c:v>
                </c:pt>
                <c:pt idx="195" formatCode="General">
                  <c:v>8.5</c:v>
                </c:pt>
                <c:pt idx="196" formatCode="General">
                  <c:v>8.5</c:v>
                </c:pt>
                <c:pt idx="197" formatCode="General">
                  <c:v>8.5</c:v>
                </c:pt>
                <c:pt idx="198" formatCode="General">
                  <c:v>8.5</c:v>
                </c:pt>
                <c:pt idx="199" formatCode="General">
                  <c:v>8.5</c:v>
                </c:pt>
                <c:pt idx="200" formatCode="General">
                  <c:v>8.5</c:v>
                </c:pt>
                <c:pt idx="201" formatCode="General">
                  <c:v>8.5</c:v>
                </c:pt>
                <c:pt idx="202" formatCode="General">
                  <c:v>8</c:v>
                </c:pt>
                <c:pt idx="203" formatCode="General">
                  <c:v>8</c:v>
                </c:pt>
                <c:pt idx="204" formatCode="General">
                  <c:v>8</c:v>
                </c:pt>
                <c:pt idx="205" formatCode="General">
                  <c:v>8</c:v>
                </c:pt>
                <c:pt idx="206" formatCode="General">
                  <c:v>8</c:v>
                </c:pt>
                <c:pt idx="207" formatCode="General">
                  <c:v>8</c:v>
                </c:pt>
                <c:pt idx="208" formatCode="General">
                  <c:v>8</c:v>
                </c:pt>
                <c:pt idx="209" formatCode="General">
                  <c:v>8</c:v>
                </c:pt>
                <c:pt idx="210" formatCode="General">
                  <c:v>8</c:v>
                </c:pt>
                <c:pt idx="211" formatCode="General">
                  <c:v>8</c:v>
                </c:pt>
                <c:pt idx="212" formatCode="General">
                  <c:v>8</c:v>
                </c:pt>
                <c:pt idx="213" formatCode="General">
                  <c:v>8</c:v>
                </c:pt>
                <c:pt idx="214" formatCode="General">
                  <c:v>8</c:v>
                </c:pt>
                <c:pt idx="215" formatCode="General">
                  <c:v>8</c:v>
                </c:pt>
                <c:pt idx="216" formatCode="General">
                  <c:v>8</c:v>
                </c:pt>
                <c:pt idx="217" formatCode="General">
                  <c:v>8</c:v>
                </c:pt>
                <c:pt idx="218" formatCode="General">
                  <c:v>8</c:v>
                </c:pt>
                <c:pt idx="219" formatCode="General">
                  <c:v>7.5</c:v>
                </c:pt>
                <c:pt idx="220" formatCode="General">
                  <c:v>7.5</c:v>
                </c:pt>
                <c:pt idx="221" formatCode="General">
                  <c:v>7.5</c:v>
                </c:pt>
                <c:pt idx="222" formatCode="General">
                  <c:v>7.5</c:v>
                </c:pt>
                <c:pt idx="223" formatCode="General">
                  <c:v>7</c:v>
                </c:pt>
                <c:pt idx="224" formatCode="General">
                  <c:v>7</c:v>
                </c:pt>
                <c:pt idx="225" formatCode="General">
                  <c:v>7</c:v>
                </c:pt>
                <c:pt idx="226" formatCode="General">
                  <c:v>7</c:v>
                </c:pt>
                <c:pt idx="227" formatCode="General">
                  <c:v>6.5</c:v>
                </c:pt>
                <c:pt idx="228" formatCode="General">
                  <c:v>6.5</c:v>
                </c:pt>
                <c:pt idx="229" formatCode="General">
                  <c:v>6.5</c:v>
                </c:pt>
                <c:pt idx="230" formatCode="General">
                  <c:v>6.5</c:v>
                </c:pt>
                <c:pt idx="231" formatCode="General">
                  <c:v>6.5</c:v>
                </c:pt>
                <c:pt idx="232" formatCode="General">
                  <c:v>6</c:v>
                </c:pt>
                <c:pt idx="233" formatCode="General">
                  <c:v>6</c:v>
                </c:pt>
                <c:pt idx="234" formatCode="General">
                  <c:v>6</c:v>
                </c:pt>
                <c:pt idx="235" formatCode="General">
                  <c:v>6</c:v>
                </c:pt>
                <c:pt idx="236" formatCode="General">
                  <c:v>6</c:v>
                </c:pt>
                <c:pt idx="237" formatCode="General">
                  <c:v>6</c:v>
                </c:pt>
                <c:pt idx="238" formatCode="General">
                  <c:v>6</c:v>
                </c:pt>
                <c:pt idx="239" formatCode="General">
                  <c:v>6</c:v>
                </c:pt>
                <c:pt idx="240" formatCode="General">
                  <c:v>6</c:v>
                </c:pt>
                <c:pt idx="241" formatCode="General">
                  <c:v>5.5</c:v>
                </c:pt>
                <c:pt idx="242" formatCode="General">
                  <c:v>5.5</c:v>
                </c:pt>
                <c:pt idx="243" formatCode="General">
                  <c:v>5.5</c:v>
                </c:pt>
                <c:pt idx="244" formatCode="General">
                  <c:v>5.5</c:v>
                </c:pt>
                <c:pt idx="245" formatCode="General">
                  <c:v>5</c:v>
                </c:pt>
                <c:pt idx="246" formatCode="General">
                  <c:v>5</c:v>
                </c:pt>
                <c:pt idx="247" formatCode="General">
                  <c:v>5</c:v>
                </c:pt>
                <c:pt idx="248" formatCode="General">
                  <c:v>5</c:v>
                </c:pt>
                <c:pt idx="249" formatCode="General">
                  <c:v>5</c:v>
                </c:pt>
                <c:pt idx="250" formatCode="General">
                  <c:v>4.5</c:v>
                </c:pt>
                <c:pt idx="251" formatCode="General">
                  <c:v>4.5</c:v>
                </c:pt>
                <c:pt idx="252" formatCode="General">
                  <c:v>4.5</c:v>
                </c:pt>
                <c:pt idx="253" formatCode="General">
                  <c:v>4.5</c:v>
                </c:pt>
                <c:pt idx="254" formatCode="General">
                  <c:v>4.5</c:v>
                </c:pt>
                <c:pt idx="255" formatCode="General">
                  <c:v>4.5</c:v>
                </c:pt>
                <c:pt idx="256" formatCode="General">
                  <c:v>4.5</c:v>
                </c:pt>
                <c:pt idx="257" formatCode="General">
                  <c:v>4.5</c:v>
                </c:pt>
                <c:pt idx="258" formatCode="General">
                  <c:v>4.5</c:v>
                </c:pt>
                <c:pt idx="259" formatCode="General">
                  <c:v>4.5</c:v>
                </c:pt>
                <c:pt idx="260" formatCode="General">
                  <c:v>4.5</c:v>
                </c:pt>
                <c:pt idx="261" formatCode="General">
                  <c:v>4.5</c:v>
                </c:pt>
                <c:pt idx="262" formatCode="General">
                  <c:v>4.5</c:v>
                </c:pt>
                <c:pt idx="263" formatCode="General">
                  <c:v>4.5</c:v>
                </c:pt>
                <c:pt idx="264" formatCode="General">
                  <c:v>4.5</c:v>
                </c:pt>
                <c:pt idx="265" formatCode="General">
                  <c:v>4.5</c:v>
                </c:pt>
                <c:pt idx="266" formatCode="General">
                  <c:v>4.5</c:v>
                </c:pt>
                <c:pt idx="267" formatCode="General">
                  <c:v>4.25</c:v>
                </c:pt>
                <c:pt idx="268" formatCode="General">
                  <c:v>4.25</c:v>
                </c:pt>
                <c:pt idx="269" formatCode="General">
                  <c:v>4.25</c:v>
                </c:pt>
                <c:pt idx="270" formatCode="General">
                  <c:v>4.25</c:v>
                </c:pt>
                <c:pt idx="271" formatCode="General">
                  <c:v>4.25</c:v>
                </c:pt>
                <c:pt idx="272" formatCode="General">
                  <c:v>4.25</c:v>
                </c:pt>
                <c:pt idx="273" formatCode="General">
                  <c:v>4.25</c:v>
                </c:pt>
                <c:pt idx="274" formatCode="General">
                  <c:v>4.25</c:v>
                </c:pt>
                <c:pt idx="275" formatCode="General">
                  <c:v>4.25</c:v>
                </c:pt>
                <c:pt idx="276" formatCode="General">
                  <c:v>4.25</c:v>
                </c:pt>
                <c:pt idx="277" formatCode="General">
                  <c:v>4.25</c:v>
                </c:pt>
                <c:pt idx="278" formatCode="General">
                  <c:v>4.25</c:v>
                </c:pt>
                <c:pt idx="279" formatCode="General">
                  <c:v>4.25</c:v>
                </c:pt>
                <c:pt idx="280" formatCode="General">
                  <c:v>4.25</c:v>
                </c:pt>
                <c:pt idx="281" formatCode="General">
                  <c:v>4.25</c:v>
                </c:pt>
                <c:pt idx="282" formatCode="General">
                  <c:v>4.25</c:v>
                </c:pt>
                <c:pt idx="283" formatCode="General">
                  <c:v>4.25</c:v>
                </c:pt>
                <c:pt idx="284" formatCode="General">
                  <c:v>4.25</c:v>
                </c:pt>
                <c:pt idx="285" formatCode="General">
                  <c:v>4.25</c:v>
                </c:pt>
                <c:pt idx="286" formatCode="General">
                  <c:v>4.25</c:v>
                </c:pt>
                <c:pt idx="287" formatCode="General">
                  <c:v>4.25</c:v>
                </c:pt>
                <c:pt idx="288" formatCode="General">
                  <c:v>4</c:v>
                </c:pt>
                <c:pt idx="289" formatCode="General">
                  <c:v>4</c:v>
                </c:pt>
                <c:pt idx="290" formatCode="General">
                  <c:v>4</c:v>
                </c:pt>
                <c:pt idx="291" formatCode="General">
                  <c:v>4</c:v>
                </c:pt>
                <c:pt idx="292" formatCode="General">
                  <c:v>4</c:v>
                </c:pt>
                <c:pt idx="293" formatCode="General">
                  <c:v>4</c:v>
                </c:pt>
                <c:pt idx="294" formatCode="General">
                  <c:v>4</c:v>
                </c:pt>
                <c:pt idx="295" formatCode="General">
                  <c:v>4</c:v>
                </c:pt>
                <c:pt idx="296" formatCode="General">
                  <c:v>4</c:v>
                </c:pt>
                <c:pt idx="297" formatCode="General">
                  <c:v>4</c:v>
                </c:pt>
                <c:pt idx="298" formatCode="General">
                  <c:v>4</c:v>
                </c:pt>
                <c:pt idx="299" formatCode="General">
                  <c:v>4</c:v>
                </c:pt>
                <c:pt idx="300" formatCode="General">
                  <c:v>4</c:v>
                </c:pt>
                <c:pt idx="301" formatCode="General">
                  <c:v>4</c:v>
                </c:pt>
                <c:pt idx="302" formatCode="General">
                  <c:v>4</c:v>
                </c:pt>
                <c:pt idx="303" formatCode="General">
                  <c:v>4</c:v>
                </c:pt>
                <c:pt idx="304" formatCode="General">
                  <c:v>4</c:v>
                </c:pt>
                <c:pt idx="305" formatCode="General">
                  <c:v>4</c:v>
                </c:pt>
                <c:pt idx="306" formatCode="General">
                  <c:v>4</c:v>
                </c:pt>
                <c:pt idx="307" formatCode="General">
                  <c:v>4</c:v>
                </c:pt>
                <c:pt idx="308" formatCode="General">
                  <c:v>4</c:v>
                </c:pt>
                <c:pt idx="309" formatCode="General">
                  <c:v>4</c:v>
                </c:pt>
                <c:pt idx="310" formatCode="General">
                  <c:v>4</c:v>
                </c:pt>
                <c:pt idx="311" formatCode="General">
                  <c:v>4</c:v>
                </c:pt>
                <c:pt idx="312" formatCode="General">
                  <c:v>4</c:v>
                </c:pt>
                <c:pt idx="313" formatCode="General">
                  <c:v>4</c:v>
                </c:pt>
                <c:pt idx="314" formatCode="General">
                  <c:v>4</c:v>
                </c:pt>
                <c:pt idx="315" formatCode="General">
                  <c:v>4</c:v>
                </c:pt>
                <c:pt idx="316" formatCode="General">
                  <c:v>4</c:v>
                </c:pt>
                <c:pt idx="317" formatCode="General">
                  <c:v>4</c:v>
                </c:pt>
                <c:pt idx="318" formatCode="General">
                  <c:v>4</c:v>
                </c:pt>
                <c:pt idx="319" formatCode="General">
                  <c:v>4</c:v>
                </c:pt>
                <c:pt idx="320" formatCode="General">
                  <c:v>4</c:v>
                </c:pt>
                <c:pt idx="321" formatCode="General">
                  <c:v>4</c:v>
                </c:pt>
                <c:pt idx="322" formatCode="General">
                  <c:v>4</c:v>
                </c:pt>
                <c:pt idx="323" formatCode="General">
                  <c:v>4</c:v>
                </c:pt>
                <c:pt idx="324" formatCode="General">
                  <c:v>4</c:v>
                </c:pt>
                <c:pt idx="325" formatCode="General">
                  <c:v>4</c:v>
                </c:pt>
                <c:pt idx="326" formatCode="General">
                  <c:v>4</c:v>
                </c:pt>
                <c:pt idx="327" formatCode="General">
                  <c:v>4</c:v>
                </c:pt>
                <c:pt idx="328" formatCode="General">
                  <c:v>4</c:v>
                </c:pt>
                <c:pt idx="329" formatCode="General">
                  <c:v>4</c:v>
                </c:pt>
                <c:pt idx="330" formatCode="General">
                  <c:v>4</c:v>
                </c:pt>
                <c:pt idx="331" formatCode="General">
                  <c:v>4</c:v>
                </c:pt>
                <c:pt idx="332" formatCode="General">
                  <c:v>4</c:v>
                </c:pt>
                <c:pt idx="333" formatCode="General">
                  <c:v>4</c:v>
                </c:pt>
                <c:pt idx="334" formatCode="General">
                  <c:v>4</c:v>
                </c:pt>
                <c:pt idx="335" formatCode="General">
                  <c:v>4</c:v>
                </c:pt>
                <c:pt idx="336" formatCode="General">
                  <c:v>4</c:v>
                </c:pt>
                <c:pt idx="337" formatCode="General">
                  <c:v>4</c:v>
                </c:pt>
                <c:pt idx="338" formatCode="General">
                  <c:v>4</c:v>
                </c:pt>
                <c:pt idx="339" formatCode="General">
                  <c:v>4</c:v>
                </c:pt>
                <c:pt idx="340" formatCode="General">
                  <c:v>4</c:v>
                </c:pt>
                <c:pt idx="341" formatCode="General">
                  <c:v>4</c:v>
                </c:pt>
                <c:pt idx="342" formatCode="General">
                  <c:v>4</c:v>
                </c:pt>
                <c:pt idx="343" formatCode="General">
                  <c:v>4</c:v>
                </c:pt>
                <c:pt idx="344" formatCode="General">
                  <c:v>4</c:v>
                </c:pt>
                <c:pt idx="345" formatCode="General">
                  <c:v>4</c:v>
                </c:pt>
                <c:pt idx="346" formatCode="General">
                  <c:v>4</c:v>
                </c:pt>
                <c:pt idx="347" formatCode="General">
                  <c:v>4</c:v>
                </c:pt>
                <c:pt idx="348" formatCode="General">
                  <c:v>3.75</c:v>
                </c:pt>
                <c:pt idx="349" formatCode="General">
                  <c:v>3.75</c:v>
                </c:pt>
                <c:pt idx="350" formatCode="General">
                  <c:v>3.75</c:v>
                </c:pt>
                <c:pt idx="351" formatCode="General">
                  <c:v>3.75</c:v>
                </c:pt>
                <c:pt idx="352" formatCode="General">
                  <c:v>3.75</c:v>
                </c:pt>
                <c:pt idx="353" formatCode="0.0">
                  <c:v>3.5</c:v>
                </c:pt>
                <c:pt idx="354" formatCode="0.0">
                  <c:v>3.5</c:v>
                </c:pt>
                <c:pt idx="355" formatCode="0.0">
                  <c:v>3.5</c:v>
                </c:pt>
                <c:pt idx="356" formatCode="0.0">
                  <c:v>3.5</c:v>
                </c:pt>
                <c:pt idx="357" formatCode="0.0">
                  <c:v>3.5</c:v>
                </c:pt>
                <c:pt idx="358" formatCode="0.0">
                  <c:v>3.5</c:v>
                </c:pt>
                <c:pt idx="359" formatCode="0.0">
                  <c:v>3.5</c:v>
                </c:pt>
                <c:pt idx="360" formatCode="0.0">
                  <c:v>3.5</c:v>
                </c:pt>
                <c:pt idx="361" formatCode="0.0">
                  <c:v>3.5</c:v>
                </c:pt>
                <c:pt idx="362" formatCode="0.0">
                  <c:v>3.5</c:v>
                </c:pt>
                <c:pt idx="363" formatCode="0.0">
                  <c:v>3.5</c:v>
                </c:pt>
                <c:pt idx="364" formatCode="0.0">
                  <c:v>3.5</c:v>
                </c:pt>
                <c:pt idx="365" formatCode="0.0">
                  <c:v>3.5</c:v>
                </c:pt>
                <c:pt idx="366" formatCode="0.0">
                  <c:v>3.5</c:v>
                </c:pt>
                <c:pt idx="367" formatCode="0.0">
                  <c:v>3.5</c:v>
                </c:pt>
                <c:pt idx="368" formatCode="0.0">
                  <c:v>3.5</c:v>
                </c:pt>
                <c:pt idx="369" formatCode="0.0">
                  <c:v>3.5</c:v>
                </c:pt>
                <c:pt idx="370" formatCode="0.0">
                  <c:v>3.5</c:v>
                </c:pt>
                <c:pt idx="371" formatCode="0.0">
                  <c:v>3.5</c:v>
                </c:pt>
                <c:pt idx="372" formatCode="0.0">
                  <c:v>3.5</c:v>
                </c:pt>
                <c:pt idx="373" formatCode="0.0">
                  <c:v>3.5</c:v>
                </c:pt>
                <c:pt idx="374">
                  <c:v>3.5</c:v>
                </c:pt>
                <c:pt idx="375">
                  <c:v>3.5</c:v>
                </c:pt>
                <c:pt idx="376">
                  <c:v>3.25</c:v>
                </c:pt>
                <c:pt idx="377">
                  <c:v>3.25</c:v>
                </c:pt>
                <c:pt idx="378">
                  <c:v>3.25</c:v>
                </c:pt>
                <c:pt idx="379">
                  <c:v>3.25</c:v>
                </c:pt>
                <c:pt idx="380">
                  <c:v>3</c:v>
                </c:pt>
                <c:pt idx="381">
                  <c:v>3</c:v>
                </c:pt>
                <c:pt idx="382">
                  <c:v>3</c:v>
                </c:pt>
                <c:pt idx="383">
                  <c:v>3</c:v>
                </c:pt>
                <c:pt idx="384">
                  <c:v>3</c:v>
                </c:pt>
                <c:pt idx="385">
                  <c:v>3</c:v>
                </c:pt>
                <c:pt idx="386">
                  <c:v>3</c:v>
                </c:pt>
                <c:pt idx="387">
                  <c:v>3</c:v>
                </c:pt>
                <c:pt idx="388">
                  <c:v>3</c:v>
                </c:pt>
                <c:pt idx="389">
                  <c:v>3</c:v>
                </c:pt>
                <c:pt idx="390">
                  <c:v>3</c:v>
                </c:pt>
                <c:pt idx="391">
                  <c:v>3</c:v>
                </c:pt>
                <c:pt idx="392">
                  <c:v>3</c:v>
                </c:pt>
                <c:pt idx="393">
                  <c:v>3</c:v>
                </c:pt>
                <c:pt idx="394">
                  <c:v>3</c:v>
                </c:pt>
                <c:pt idx="395">
                  <c:v>3</c:v>
                </c:pt>
                <c:pt idx="396">
                  <c:v>3</c:v>
                </c:pt>
                <c:pt idx="397">
                  <c:v>3</c:v>
                </c:pt>
                <c:pt idx="398">
                  <c:v>3</c:v>
                </c:pt>
                <c:pt idx="399">
                  <c:v>3</c:v>
                </c:pt>
                <c:pt idx="400">
                  <c:v>3</c:v>
                </c:pt>
                <c:pt idx="401">
                  <c:v>3</c:v>
                </c:pt>
                <c:pt idx="402">
                  <c:v>3</c:v>
                </c:pt>
                <c:pt idx="403">
                  <c:v>3</c:v>
                </c:pt>
                <c:pt idx="404">
                  <c:v>3</c:v>
                </c:pt>
                <c:pt idx="405">
                  <c:v>3</c:v>
                </c:pt>
                <c:pt idx="406">
                  <c:v>3</c:v>
                </c:pt>
                <c:pt idx="407">
                  <c:v>3</c:v>
                </c:pt>
                <c:pt idx="408">
                  <c:v>3</c:v>
                </c:pt>
                <c:pt idx="409">
                  <c:v>3</c:v>
                </c:pt>
                <c:pt idx="410">
                  <c:v>3</c:v>
                </c:pt>
                <c:pt idx="411">
                  <c:v>3</c:v>
                </c:pt>
                <c:pt idx="412">
                  <c:v>3</c:v>
                </c:pt>
                <c:pt idx="413">
                  <c:v>3</c:v>
                </c:pt>
                <c:pt idx="414">
                  <c:v>3</c:v>
                </c:pt>
                <c:pt idx="415">
                  <c:v>3</c:v>
                </c:pt>
                <c:pt idx="416">
                  <c:v>3</c:v>
                </c:pt>
                <c:pt idx="417">
                  <c:v>3</c:v>
                </c:pt>
                <c:pt idx="418">
                  <c:v>3</c:v>
                </c:pt>
                <c:pt idx="419">
                  <c:v>3</c:v>
                </c:pt>
                <c:pt idx="420">
                  <c:v>3</c:v>
                </c:pt>
                <c:pt idx="421">
                  <c:v>3</c:v>
                </c:pt>
                <c:pt idx="422">
                  <c:v>3</c:v>
                </c:pt>
                <c:pt idx="423">
                  <c:v>3</c:v>
                </c:pt>
                <c:pt idx="424">
                  <c:v>3</c:v>
                </c:pt>
                <c:pt idx="425">
                  <c:v>3</c:v>
                </c:pt>
                <c:pt idx="426">
                  <c:v>3</c:v>
                </c:pt>
                <c:pt idx="427">
                  <c:v>3</c:v>
                </c:pt>
                <c:pt idx="428">
                  <c:v>3</c:v>
                </c:pt>
                <c:pt idx="429">
                  <c:v>3</c:v>
                </c:pt>
                <c:pt idx="430">
                  <c:v>3</c:v>
                </c:pt>
                <c:pt idx="431">
                  <c:v>3</c:v>
                </c:pt>
                <c:pt idx="432">
                  <c:v>3</c:v>
                </c:pt>
                <c:pt idx="433">
                  <c:v>3</c:v>
                </c:pt>
                <c:pt idx="434">
                  <c:v>3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3</c:v>
                </c:pt>
                <c:pt idx="439" formatCode="General">
                  <c:v>3</c:v>
                </c:pt>
                <c:pt idx="440" formatCode="General">
                  <c:v>3</c:v>
                </c:pt>
                <c:pt idx="441" formatCode="General">
                  <c:v>3</c:v>
                </c:pt>
                <c:pt idx="442" formatCode="General">
                  <c:v>3</c:v>
                </c:pt>
                <c:pt idx="443" formatCode="General">
                  <c:v>3</c:v>
                </c:pt>
                <c:pt idx="444" formatCode="General">
                  <c:v>3</c:v>
                </c:pt>
                <c:pt idx="445" formatCode="General">
                  <c:v>2.75</c:v>
                </c:pt>
                <c:pt idx="446" formatCode="General">
                  <c:v>2.75</c:v>
                </c:pt>
                <c:pt idx="447" formatCode="General">
                  <c:v>2.75</c:v>
                </c:pt>
                <c:pt idx="448" formatCode="General">
                  <c:v>2.75</c:v>
                </c:pt>
                <c:pt idx="449" formatCode="General">
                  <c:v>2.5</c:v>
                </c:pt>
                <c:pt idx="450" formatCode="General">
                  <c:v>2.5</c:v>
                </c:pt>
                <c:pt idx="451" formatCode="General">
                  <c:v>2.5</c:v>
                </c:pt>
                <c:pt idx="452" formatCode="General">
                  <c:v>2.5</c:v>
                </c:pt>
                <c:pt idx="453" formatCode="General">
                  <c:v>2.5</c:v>
                </c:pt>
                <c:pt idx="454" formatCode="General">
                  <c:v>2.5</c:v>
                </c:pt>
                <c:pt idx="455" formatCode="General">
                  <c:v>2.5</c:v>
                </c:pt>
                <c:pt idx="456" formatCode="General">
                  <c:v>2.5</c:v>
                </c:pt>
                <c:pt idx="457" formatCode="General">
                  <c:v>2.5</c:v>
                </c:pt>
                <c:pt idx="458" formatCode="General">
                  <c:v>2.5</c:v>
                </c:pt>
                <c:pt idx="459" formatCode="General">
                  <c:v>2.5</c:v>
                </c:pt>
                <c:pt idx="460" formatCode="General">
                  <c:v>2.5</c:v>
                </c:pt>
                <c:pt idx="461" formatCode="General">
                  <c:v>2.5</c:v>
                </c:pt>
                <c:pt idx="462" formatCode="General">
                  <c:v>2.25</c:v>
                </c:pt>
                <c:pt idx="463" formatCode="General">
                  <c:v>2.25</c:v>
                </c:pt>
                <c:pt idx="464" formatCode="General">
                  <c:v>2.25</c:v>
                </c:pt>
                <c:pt idx="465" formatCode="General">
                  <c:v>2.25</c:v>
                </c:pt>
                <c:pt idx="466" formatCode="General">
                  <c:v>2.25</c:v>
                </c:pt>
                <c:pt idx="467" formatCode="General">
                  <c:v>2.25</c:v>
                </c:pt>
                <c:pt idx="468" formatCode="General">
                  <c:v>2.25</c:v>
                </c:pt>
                <c:pt idx="469" formatCode="General">
                  <c:v>2.25</c:v>
                </c:pt>
                <c:pt idx="470" formatCode="General">
                  <c:v>2.25</c:v>
                </c:pt>
                <c:pt idx="471" formatCode="General">
                  <c:v>2.25</c:v>
                </c:pt>
                <c:pt idx="472" formatCode="General">
                  <c:v>2.25</c:v>
                </c:pt>
                <c:pt idx="473" formatCode="General">
                  <c:v>2.25</c:v>
                </c:pt>
                <c:pt idx="474" formatCode="General">
                  <c:v>2.25</c:v>
                </c:pt>
                <c:pt idx="475" formatCode="General">
                  <c:v>2.25</c:v>
                </c:pt>
                <c:pt idx="476" formatCode="General">
                  <c:v>2.25</c:v>
                </c:pt>
                <c:pt idx="477" formatCode="General">
                  <c:v>2.25</c:v>
                </c:pt>
                <c:pt idx="478" formatCode="General">
                  <c:v>2.25</c:v>
                </c:pt>
                <c:pt idx="479" formatCode="General">
                  <c:v>2.25</c:v>
                </c:pt>
                <c:pt idx="480" formatCode="General">
                  <c:v>1.75</c:v>
                </c:pt>
                <c:pt idx="481" formatCode="General">
                  <c:v>1.75</c:v>
                </c:pt>
                <c:pt idx="482" formatCode="General">
                  <c:v>1.75</c:v>
                </c:pt>
                <c:pt idx="483" formatCode="General">
                  <c:v>1.75</c:v>
                </c:pt>
                <c:pt idx="484" formatCode="General">
                  <c:v>1.5</c:v>
                </c:pt>
                <c:pt idx="485" formatCode="General">
                  <c:v>1.5</c:v>
                </c:pt>
                <c:pt idx="486" formatCode="General">
                  <c:v>1.5</c:v>
                </c:pt>
                <c:pt idx="487" formatCode="General">
                  <c:v>1.5</c:v>
                </c:pt>
                <c:pt idx="488" formatCode="General">
                  <c:v>1.5</c:v>
                </c:pt>
                <c:pt idx="489" formatCode="General">
                  <c:v>1.5</c:v>
                </c:pt>
                <c:pt idx="490" formatCode="General">
                  <c:v>1.5</c:v>
                </c:pt>
                <c:pt idx="491" formatCode="General">
                  <c:v>1.5</c:v>
                </c:pt>
                <c:pt idx="492" formatCode="General">
                  <c:v>1.5</c:v>
                </c:pt>
                <c:pt idx="493" formatCode="General">
                  <c:v>1.25</c:v>
                </c:pt>
                <c:pt idx="494" formatCode="General">
                  <c:v>1.25</c:v>
                </c:pt>
                <c:pt idx="495" formatCode="General">
                  <c:v>1.25</c:v>
                </c:pt>
                <c:pt idx="496" formatCode="General">
                  <c:v>1.25</c:v>
                </c:pt>
                <c:pt idx="497" formatCode="General">
                  <c:v>1.25</c:v>
                </c:pt>
                <c:pt idx="498" formatCode="General">
                  <c:v>1.25</c:v>
                </c:pt>
                <c:pt idx="499" formatCode="General">
                  <c:v>1.25</c:v>
                </c:pt>
                <c:pt idx="500" formatCode="General">
                  <c:v>1.25</c:v>
                </c:pt>
                <c:pt idx="501" formatCode="General">
                  <c:v>1.25</c:v>
                </c:pt>
                <c:pt idx="502" formatCode="General">
                  <c:v>1.25</c:v>
                </c:pt>
                <c:pt idx="503" formatCode="General">
                  <c:v>1.25</c:v>
                </c:pt>
                <c:pt idx="504" formatCode="General">
                  <c:v>1.25</c:v>
                </c:pt>
                <c:pt idx="505" formatCode="General">
                  <c:v>1.25</c:v>
                </c:pt>
                <c:pt idx="506" formatCode="General">
                  <c:v>1.25</c:v>
                </c:pt>
                <c:pt idx="507" formatCode="General">
                  <c:v>1.25</c:v>
                </c:pt>
                <c:pt idx="508" formatCode="General">
                  <c:v>1.25</c:v>
                </c:pt>
                <c:pt idx="509" formatCode="General">
                  <c:v>1.25</c:v>
                </c:pt>
                <c:pt idx="510" formatCode="General">
                  <c:v>1.25</c:v>
                </c:pt>
                <c:pt idx="511" formatCode="General">
                  <c:v>1.25</c:v>
                </c:pt>
                <c:pt idx="512" formatCode="General">
                  <c:v>1.25</c:v>
                </c:pt>
                <c:pt idx="513" formatCode="General">
                  <c:v>1.25</c:v>
                </c:pt>
                <c:pt idx="514" formatCode="General">
                  <c:v>1.25</c:v>
                </c:pt>
                <c:pt idx="515" formatCode="General">
                  <c:v>1.25</c:v>
                </c:pt>
                <c:pt idx="516" formatCode="General">
                  <c:v>1.25</c:v>
                </c:pt>
                <c:pt idx="517" formatCode="General">
                  <c:v>1.25</c:v>
                </c:pt>
                <c:pt idx="518" formatCode="General">
                  <c:v>1.25</c:v>
                </c:pt>
                <c:pt idx="519" formatCode="General">
                  <c:v>1</c:v>
                </c:pt>
                <c:pt idx="520" formatCode="General">
                  <c:v>1</c:v>
                </c:pt>
                <c:pt idx="521" formatCode="General">
                  <c:v>1</c:v>
                </c:pt>
                <c:pt idx="522" formatCode="General">
                  <c:v>1</c:v>
                </c:pt>
                <c:pt idx="523" formatCode="General">
                  <c:v>1</c:v>
                </c:pt>
                <c:pt idx="524" formatCode="General">
                  <c:v>1</c:v>
                </c:pt>
                <c:pt idx="525" formatCode="General">
                  <c:v>1</c:v>
                </c:pt>
                <c:pt idx="526" formatCode="General">
                  <c:v>1</c:v>
                </c:pt>
                <c:pt idx="527" formatCode="General">
                  <c:v>1</c:v>
                </c:pt>
                <c:pt idx="528" formatCode="General">
                  <c:v>1</c:v>
                </c:pt>
                <c:pt idx="529" formatCode="General">
                  <c:v>1</c:v>
                </c:pt>
                <c:pt idx="530" formatCode="General">
                  <c:v>1</c:v>
                </c:pt>
                <c:pt idx="531" formatCode="General">
                  <c:v>1</c:v>
                </c:pt>
                <c:pt idx="532" formatCode="General">
                  <c:v>1</c:v>
                </c:pt>
                <c:pt idx="533" formatCode="General">
                  <c:v>1</c:v>
                </c:pt>
                <c:pt idx="534" formatCode="General">
                  <c:v>1</c:v>
                </c:pt>
                <c:pt idx="535" formatCode="General">
                  <c:v>1</c:v>
                </c:pt>
                <c:pt idx="536" formatCode="General">
                  <c:v>1</c:v>
                </c:pt>
                <c:pt idx="537" formatCode="General">
                  <c:v>1</c:v>
                </c:pt>
                <c:pt idx="538" formatCode="General">
                  <c:v>1</c:v>
                </c:pt>
                <c:pt idx="539" formatCode="General">
                  <c:v>1</c:v>
                </c:pt>
                <c:pt idx="540" formatCode="General">
                  <c:v>1</c:v>
                </c:pt>
                <c:pt idx="541" formatCode="General">
                  <c:v>1</c:v>
                </c:pt>
                <c:pt idx="542" formatCode="General">
                  <c:v>1</c:v>
                </c:pt>
                <c:pt idx="543" formatCode="General">
                  <c:v>1</c:v>
                </c:pt>
                <c:pt idx="544" formatCode="General">
                  <c:v>1</c:v>
                </c:pt>
                <c:pt idx="545" formatCode="General">
                  <c:v>1</c:v>
                </c:pt>
                <c:pt idx="546" formatCode="General">
                  <c:v>1</c:v>
                </c:pt>
                <c:pt idx="547" formatCode="General">
                  <c:v>1</c:v>
                </c:pt>
                <c:pt idx="548" formatCode="General">
                  <c:v>1</c:v>
                </c:pt>
                <c:pt idx="549" formatCode="General">
                  <c:v>1</c:v>
                </c:pt>
                <c:pt idx="550" formatCode="General">
                  <c:v>1</c:v>
                </c:pt>
                <c:pt idx="551" formatCode="General">
                  <c:v>1</c:v>
                </c:pt>
                <c:pt idx="552" formatCode="General">
                  <c:v>1</c:v>
                </c:pt>
                <c:pt idx="553" formatCode="General">
                  <c:v>1</c:v>
                </c:pt>
                <c:pt idx="554" formatCode="General">
                  <c:v>1</c:v>
                </c:pt>
                <c:pt idx="555" formatCode="General">
                  <c:v>1</c:v>
                </c:pt>
                <c:pt idx="556" formatCode="General">
                  <c:v>1</c:v>
                </c:pt>
                <c:pt idx="557" formatCode="General">
                  <c:v>1</c:v>
                </c:pt>
                <c:pt idx="558" formatCode="General">
                  <c:v>1</c:v>
                </c:pt>
                <c:pt idx="559" formatCode="General">
                  <c:v>1</c:v>
                </c:pt>
                <c:pt idx="560" formatCode="General">
                  <c:v>1</c:v>
                </c:pt>
                <c:pt idx="561" formatCode="General">
                  <c:v>1</c:v>
                </c:pt>
                <c:pt idx="562" formatCode="General">
                  <c:v>1</c:v>
                </c:pt>
                <c:pt idx="563" formatCode="General">
                  <c:v>1</c:v>
                </c:pt>
                <c:pt idx="564" formatCode="General">
                  <c:v>1</c:v>
                </c:pt>
                <c:pt idx="565" formatCode="General">
                  <c:v>1</c:v>
                </c:pt>
                <c:pt idx="566" formatCode="General">
                  <c:v>1</c:v>
                </c:pt>
                <c:pt idx="567" formatCode="General">
                  <c:v>1</c:v>
                </c:pt>
                <c:pt idx="568" formatCode="General">
                  <c:v>1</c:v>
                </c:pt>
                <c:pt idx="569" formatCode="General">
                  <c:v>1</c:v>
                </c:pt>
                <c:pt idx="570" formatCode="General">
                  <c:v>1</c:v>
                </c:pt>
                <c:pt idx="571" formatCode="General">
                  <c:v>1</c:v>
                </c:pt>
                <c:pt idx="572" formatCode="General">
                  <c:v>1</c:v>
                </c:pt>
                <c:pt idx="573" formatCode="General">
                  <c:v>1</c:v>
                </c:pt>
                <c:pt idx="574" formatCode="General">
                  <c:v>1</c:v>
                </c:pt>
                <c:pt idx="575" formatCode="General">
                  <c:v>1</c:v>
                </c:pt>
                <c:pt idx="576" formatCode="General">
                  <c:v>1</c:v>
                </c:pt>
                <c:pt idx="577" formatCode="General">
                  <c:v>1</c:v>
                </c:pt>
                <c:pt idx="578" formatCode="General">
                  <c:v>1</c:v>
                </c:pt>
                <c:pt idx="579" formatCode="General">
                  <c:v>1</c:v>
                </c:pt>
                <c:pt idx="580" formatCode="General">
                  <c:v>1</c:v>
                </c:pt>
                <c:pt idx="581" formatCode="General">
                  <c:v>1</c:v>
                </c:pt>
                <c:pt idx="582" formatCode="General">
                  <c:v>1</c:v>
                </c:pt>
                <c:pt idx="583" formatCode="General">
                  <c:v>1</c:v>
                </c:pt>
                <c:pt idx="584" formatCode="General">
                  <c:v>1.5</c:v>
                </c:pt>
                <c:pt idx="585" formatCode="General">
                  <c:v>1.5</c:v>
                </c:pt>
                <c:pt idx="586" formatCode="General">
                  <c:v>1.5</c:v>
                </c:pt>
                <c:pt idx="587" formatCode="General">
                  <c:v>1.5</c:v>
                </c:pt>
                <c:pt idx="588" formatCode="General">
                  <c:v>2</c:v>
                </c:pt>
                <c:pt idx="589" formatCode="General">
                  <c:v>2</c:v>
                </c:pt>
                <c:pt idx="590" formatCode="General">
                  <c:v>2</c:v>
                </c:pt>
                <c:pt idx="591" formatCode="General">
                  <c:v>2</c:v>
                </c:pt>
                <c:pt idx="592" formatCode="General">
                  <c:v>2</c:v>
                </c:pt>
                <c:pt idx="593" formatCode="General">
                  <c:v>2.5</c:v>
                </c:pt>
                <c:pt idx="594" formatCode="General">
                  <c:v>2.5</c:v>
                </c:pt>
                <c:pt idx="595" formatCode="General">
                  <c:v>2.5</c:v>
                </c:pt>
                <c:pt idx="596" formatCode="General">
                  <c:v>2.5</c:v>
                </c:pt>
                <c:pt idx="597" formatCode="General">
                  <c:v>2.5</c:v>
                </c:pt>
                <c:pt idx="598" formatCode="General">
                  <c:v>2.5</c:v>
                </c:pt>
                <c:pt idx="599" formatCode="General">
                  <c:v>2.5</c:v>
                </c:pt>
                <c:pt idx="600" formatCode="General">
                  <c:v>2.5</c:v>
                </c:pt>
                <c:pt idx="601" formatCode="General">
                  <c:v>2.75</c:v>
                </c:pt>
                <c:pt idx="602" formatCode="General">
                  <c:v>2.75</c:v>
                </c:pt>
                <c:pt idx="603" formatCode="General">
                  <c:v>2.75</c:v>
                </c:pt>
                <c:pt idx="604" formatCode="General">
                  <c:v>2.75</c:v>
                </c:pt>
                <c:pt idx="605" formatCode="General">
                  <c:v>2.75</c:v>
                </c:pt>
                <c:pt idx="606" formatCode="General">
                  <c:v>3</c:v>
                </c:pt>
                <c:pt idx="607" formatCode="General">
                  <c:v>3</c:v>
                </c:pt>
                <c:pt idx="608" formatCode="General">
                  <c:v>3</c:v>
                </c:pt>
                <c:pt idx="609" formatCode="General">
                  <c:v>3</c:v>
                </c:pt>
                <c:pt idx="610" formatCode="General">
                  <c:v>3.5</c:v>
                </c:pt>
                <c:pt idx="611" formatCode="General">
                  <c:v>3.5</c:v>
                </c:pt>
                <c:pt idx="612" formatCode="General">
                  <c:v>3.5</c:v>
                </c:pt>
                <c:pt idx="613" formatCode="General">
                  <c:v>3.5</c:v>
                </c:pt>
                <c:pt idx="614" formatCode="General">
                  <c:v>4</c:v>
                </c:pt>
                <c:pt idx="615" formatCode="General">
                  <c:v>4</c:v>
                </c:pt>
                <c:pt idx="616" formatCode="General">
                  <c:v>4</c:v>
                </c:pt>
                <c:pt idx="617" formatCode="General">
                  <c:v>4</c:v>
                </c:pt>
                <c:pt idx="618" formatCode="General">
                  <c:v>4.5</c:v>
                </c:pt>
                <c:pt idx="619" formatCode="General">
                  <c:v>4.5</c:v>
                </c:pt>
                <c:pt idx="620" formatCode="General">
                  <c:v>4.5</c:v>
                </c:pt>
                <c:pt idx="621" formatCode="General">
                  <c:v>4.5</c:v>
                </c:pt>
                <c:pt idx="622" formatCode="General">
                  <c:v>4.5</c:v>
                </c:pt>
                <c:pt idx="623" formatCode="General">
                  <c:v>5</c:v>
                </c:pt>
                <c:pt idx="624" formatCode="General">
                  <c:v>5</c:v>
                </c:pt>
                <c:pt idx="625" formatCode="General">
                  <c:v>5</c:v>
                </c:pt>
                <c:pt idx="626" formatCode="General">
                  <c:v>5</c:v>
                </c:pt>
                <c:pt idx="627" formatCode="General">
                  <c:v>5</c:v>
                </c:pt>
                <c:pt idx="628" formatCode="General">
                  <c:v>5.25</c:v>
                </c:pt>
                <c:pt idx="629" formatCode="General">
                  <c:v>5.25</c:v>
                </c:pt>
                <c:pt idx="630" formatCode="General">
                  <c:v>5.25</c:v>
                </c:pt>
                <c:pt idx="631" formatCode="General">
                  <c:v>5.25</c:v>
                </c:pt>
                <c:pt idx="632" formatCode="General">
                  <c:v>5.5</c:v>
                </c:pt>
                <c:pt idx="633" formatCode="General">
                  <c:v>5.5</c:v>
                </c:pt>
                <c:pt idx="634" formatCode="General">
                  <c:v>5.5</c:v>
                </c:pt>
                <c:pt idx="635" formatCode="General">
                  <c:v>5.5</c:v>
                </c:pt>
                <c:pt idx="636" formatCode="General">
                  <c:v>5.75</c:v>
                </c:pt>
                <c:pt idx="637" formatCode="General">
                  <c:v>5.75</c:v>
                </c:pt>
                <c:pt idx="638" formatCode="General">
                  <c:v>5.75</c:v>
                </c:pt>
                <c:pt idx="639" formatCode="General">
                  <c:v>5.75</c:v>
                </c:pt>
                <c:pt idx="640" formatCode="General">
                  <c:v>6</c:v>
                </c:pt>
                <c:pt idx="641" formatCode="General">
                  <c:v>6</c:v>
                </c:pt>
                <c:pt idx="642" formatCode="General">
                  <c:v>6</c:v>
                </c:pt>
                <c:pt idx="643" formatCode="General">
                  <c:v>6</c:v>
                </c:pt>
                <c:pt idx="644" formatCode="General">
                  <c:v>6</c:v>
                </c:pt>
                <c:pt idx="645" formatCode="General">
                  <c:v>6</c:v>
                </c:pt>
                <c:pt idx="646" formatCode="General">
                  <c:v>6</c:v>
                </c:pt>
                <c:pt idx="647" formatCode="General">
                  <c:v>6</c:v>
                </c:pt>
                <c:pt idx="648" formatCode="General">
                  <c:v>6.25</c:v>
                </c:pt>
                <c:pt idx="649" formatCode="General">
                  <c:v>6.25</c:v>
                </c:pt>
                <c:pt idx="650" formatCode="General">
                  <c:v>6.25</c:v>
                </c:pt>
                <c:pt idx="651" formatCode="General">
                  <c:v>6.25</c:v>
                </c:pt>
                <c:pt idx="652" formatCode="General">
                  <c:v>6.5</c:v>
                </c:pt>
                <c:pt idx="653" formatCode="General">
                  <c:v>6.5</c:v>
                </c:pt>
                <c:pt idx="654" formatCode="General">
                  <c:v>6.5</c:v>
                </c:pt>
                <c:pt idx="655" formatCode="General">
                  <c:v>6.5</c:v>
                </c:pt>
                <c:pt idx="656" formatCode="General">
                  <c:v>6.5</c:v>
                </c:pt>
                <c:pt idx="657" formatCode="General">
                  <c:v>6.5</c:v>
                </c:pt>
                <c:pt idx="658" formatCode="General">
                  <c:v>6.5</c:v>
                </c:pt>
                <c:pt idx="659" formatCode="General">
                  <c:v>6.5</c:v>
                </c:pt>
                <c:pt idx="660" formatCode="General">
                  <c:v>6.5</c:v>
                </c:pt>
                <c:pt idx="661" formatCode="General">
                  <c:v>6.5</c:v>
                </c:pt>
                <c:pt idx="662" formatCode="General">
                  <c:v>6.5</c:v>
                </c:pt>
                <c:pt idx="663" formatCode="General">
                  <c:v>6.5</c:v>
                </c:pt>
                <c:pt idx="664" formatCode="General">
                  <c:v>6.5</c:v>
                </c:pt>
                <c:pt idx="665" formatCode="General">
                  <c:v>6.5</c:v>
                </c:pt>
                <c:pt idx="666" formatCode="General">
                  <c:v>6.5</c:v>
                </c:pt>
                <c:pt idx="667" formatCode="General">
                  <c:v>6.5</c:v>
                </c:pt>
                <c:pt idx="668" formatCode="General">
                  <c:v>6.5</c:v>
                </c:pt>
                <c:pt idx="669" formatCode="General">
                  <c:v>6.5</c:v>
                </c:pt>
                <c:pt idx="670" formatCode="General">
                  <c:v>6.5</c:v>
                </c:pt>
                <c:pt idx="671" formatCode="General">
                  <c:v>6.5</c:v>
                </c:pt>
                <c:pt idx="672" formatCode="General">
                  <c:v>6.5</c:v>
                </c:pt>
                <c:pt idx="673" formatCode="General">
                  <c:v>6.5</c:v>
                </c:pt>
                <c:pt idx="674" formatCode="General">
                  <c:v>6.5</c:v>
                </c:pt>
                <c:pt idx="675" formatCode="General">
                  <c:v>6.5</c:v>
                </c:pt>
                <c:pt idx="676" formatCode="General">
                  <c:v>6.5</c:v>
                </c:pt>
                <c:pt idx="677" formatCode="General">
                  <c:v>6.5</c:v>
                </c:pt>
                <c:pt idx="678" formatCode="General">
                  <c:v>6.5</c:v>
                </c:pt>
                <c:pt idx="679" formatCode="General">
                  <c:v>6.5</c:v>
                </c:pt>
                <c:pt idx="680" formatCode="General">
                  <c:v>6.5</c:v>
                </c:pt>
                <c:pt idx="681" formatCode="General">
                  <c:v>6.5</c:v>
                </c:pt>
                <c:pt idx="682" formatCode="General">
                  <c:v>6.5</c:v>
                </c:pt>
                <c:pt idx="683" formatCode="General">
                  <c:v>6.5</c:v>
                </c:pt>
                <c:pt idx="684" formatCode="General">
                  <c:v>6.5</c:v>
                </c:pt>
                <c:pt idx="685" formatCode="General">
                  <c:v>6.5</c:v>
                </c:pt>
                <c:pt idx="686" formatCode="General">
                  <c:v>6.5</c:v>
                </c:pt>
                <c:pt idx="687" formatCode="General">
                  <c:v>6.5</c:v>
                </c:pt>
                <c:pt idx="688" formatCode="General">
                  <c:v>6.5</c:v>
                </c:pt>
                <c:pt idx="689" formatCode="General">
                  <c:v>6.5</c:v>
                </c:pt>
                <c:pt idx="690" formatCode="General">
                  <c:v>6.5</c:v>
                </c:pt>
                <c:pt idx="691" formatCode="General">
                  <c:v>6.5</c:v>
                </c:pt>
                <c:pt idx="692" formatCode="General">
                  <c:v>6.5</c:v>
                </c:pt>
                <c:pt idx="693" formatCode="General">
                  <c:v>6.5</c:v>
                </c:pt>
                <c:pt idx="694" formatCode="General">
                  <c:v>6.5</c:v>
                </c:pt>
                <c:pt idx="695" formatCode="General">
                  <c:v>6.5</c:v>
                </c:pt>
                <c:pt idx="696" formatCode="General">
                  <c:v>6.5</c:v>
                </c:pt>
                <c:pt idx="697" formatCode="General">
                  <c:v>6.5</c:v>
                </c:pt>
                <c:pt idx="698" formatCode="General">
                  <c:v>6.5</c:v>
                </c:pt>
                <c:pt idx="699" formatCode="General">
                  <c:v>6.5</c:v>
                </c:pt>
                <c:pt idx="700" formatCode="General">
                  <c:v>6.5</c:v>
                </c:pt>
                <c:pt idx="701" formatCode="General">
                  <c:v>6.5</c:v>
                </c:pt>
                <c:pt idx="702" formatCode="General">
                  <c:v>6.25</c:v>
                </c:pt>
                <c:pt idx="703" formatCode="General">
                  <c:v>6.25</c:v>
                </c:pt>
                <c:pt idx="704" formatCode="General">
                  <c:v>6.25</c:v>
                </c:pt>
                <c:pt idx="705" formatCode="General">
                  <c:v>6.25</c:v>
                </c:pt>
                <c:pt idx="706" formatCode="General">
                  <c:v>6</c:v>
                </c:pt>
                <c:pt idx="707" formatCode="General">
                  <c:v>6</c:v>
                </c:pt>
                <c:pt idx="708" formatCode="General">
                  <c:v>6</c:v>
                </c:pt>
                <c:pt idx="709" formatCode="General">
                  <c:v>6</c:v>
                </c:pt>
                <c:pt idx="710" formatCode="General">
                  <c:v>6</c:v>
                </c:pt>
                <c:pt idx="711" formatCode="General">
                  <c:v>6</c:v>
                </c:pt>
                <c:pt idx="712" formatCode="General">
                  <c:v>6</c:v>
                </c:pt>
                <c:pt idx="713" formatCode="General">
                  <c:v>6</c:v>
                </c:pt>
                <c:pt idx="714" formatCode="General">
                  <c:v>6</c:v>
                </c:pt>
                <c:pt idx="715" formatCode="General">
                  <c:v>5.75</c:v>
                </c:pt>
                <c:pt idx="716" formatCode="General">
                  <c:v>5.75</c:v>
                </c:pt>
                <c:pt idx="717" formatCode="General">
                  <c:v>5.75</c:v>
                </c:pt>
                <c:pt idx="718" formatCode="General">
                  <c:v>5.75</c:v>
                </c:pt>
                <c:pt idx="719" formatCode="General">
                  <c:v>5.75</c:v>
                </c:pt>
                <c:pt idx="720" formatCode="General">
                  <c:v>5.75</c:v>
                </c:pt>
                <c:pt idx="721" formatCode="General">
                  <c:v>5.75</c:v>
                </c:pt>
                <c:pt idx="722" formatCode="General">
                  <c:v>5.75</c:v>
                </c:pt>
                <c:pt idx="723" formatCode="General">
                  <c:v>5.75</c:v>
                </c:pt>
                <c:pt idx="724" formatCode="General">
                  <c:v>5.75</c:v>
                </c:pt>
                <c:pt idx="725" formatCode="General">
                  <c:v>5.75</c:v>
                </c:pt>
                <c:pt idx="726" formatCode="General">
                  <c:v>5.75</c:v>
                </c:pt>
                <c:pt idx="727" formatCode="General">
                  <c:v>5.75</c:v>
                </c:pt>
                <c:pt idx="728" formatCode="General">
                  <c:v>5.75</c:v>
                </c:pt>
                <c:pt idx="729" formatCode="General">
                  <c:v>5.75</c:v>
                </c:pt>
                <c:pt idx="730" formatCode="General">
                  <c:v>5.75</c:v>
                </c:pt>
                <c:pt idx="731" formatCode="General">
                  <c:v>5.75</c:v>
                </c:pt>
                <c:pt idx="732" formatCode="General">
                  <c:v>5.75</c:v>
                </c:pt>
                <c:pt idx="733" formatCode="General">
                  <c:v>5.75</c:v>
                </c:pt>
                <c:pt idx="734" formatCode="General">
                  <c:v>5.75</c:v>
                </c:pt>
                <c:pt idx="735" formatCode="General">
                  <c:v>5.75</c:v>
                </c:pt>
                <c:pt idx="736" formatCode="General">
                  <c:v>5.75</c:v>
                </c:pt>
                <c:pt idx="737" formatCode="General">
                  <c:v>5.75</c:v>
                </c:pt>
                <c:pt idx="738" formatCode="General">
                  <c:v>5.75</c:v>
                </c:pt>
                <c:pt idx="739" formatCode="General">
                  <c:v>5.75</c:v>
                </c:pt>
                <c:pt idx="740" formatCode="General">
                  <c:v>5.75</c:v>
                </c:pt>
                <c:pt idx="741" formatCode="General">
                  <c:v>5.75</c:v>
                </c:pt>
                <c:pt idx="742" formatCode="General">
                  <c:v>5.75</c:v>
                </c:pt>
                <c:pt idx="743" formatCode="General">
                  <c:v>5.75</c:v>
                </c:pt>
                <c:pt idx="744" formatCode="General">
                  <c:v>5.75</c:v>
                </c:pt>
                <c:pt idx="745" formatCode="General">
                  <c:v>5.75</c:v>
                </c:pt>
                <c:pt idx="746" formatCode="General">
                  <c:v>5.75</c:v>
                </c:pt>
                <c:pt idx="747" formatCode="General">
                  <c:v>5.75</c:v>
                </c:pt>
                <c:pt idx="748" formatCode="General">
                  <c:v>5.75</c:v>
                </c:pt>
                <c:pt idx="749" formatCode="General">
                  <c:v>5.75</c:v>
                </c:pt>
                <c:pt idx="750" formatCode="General">
                  <c:v>5.75</c:v>
                </c:pt>
                <c:pt idx="751" formatCode="General">
                  <c:v>5.75</c:v>
                </c:pt>
                <c:pt idx="752" formatCode="General">
                  <c:v>5.75</c:v>
                </c:pt>
                <c:pt idx="753" formatCode="General">
                  <c:v>5.75</c:v>
                </c:pt>
                <c:pt idx="754" formatCode="General">
                  <c:v>5.75</c:v>
                </c:pt>
                <c:pt idx="755" formatCode="General">
                  <c:v>5.75</c:v>
                </c:pt>
                <c:pt idx="756" formatCode="General">
                  <c:v>5.75</c:v>
                </c:pt>
                <c:pt idx="757" formatCode="General">
                  <c:v>5.75</c:v>
                </c:pt>
                <c:pt idx="758" formatCode="General">
                  <c:v>5.75</c:v>
                </c:pt>
                <c:pt idx="759" formatCode="General">
                  <c:v>5.75</c:v>
                </c:pt>
                <c:pt idx="760" formatCode="General">
                  <c:v>5.75</c:v>
                </c:pt>
                <c:pt idx="761" formatCode="General">
                  <c:v>5.75</c:v>
                </c:pt>
                <c:pt idx="762" formatCode="General">
                  <c:v>5.75</c:v>
                </c:pt>
                <c:pt idx="763" formatCode="General">
                  <c:v>5.75</c:v>
                </c:pt>
                <c:pt idx="764" formatCode="General">
                  <c:v>5.75</c:v>
                </c:pt>
                <c:pt idx="765" formatCode="General">
                  <c:v>5.75</c:v>
                </c:pt>
                <c:pt idx="766" formatCode="General">
                  <c:v>5.75</c:v>
                </c:pt>
                <c:pt idx="767" formatCode="General">
                  <c:v>5.75</c:v>
                </c:pt>
                <c:pt idx="768" formatCode="General">
                  <c:v>5.75</c:v>
                </c:pt>
                <c:pt idx="769" formatCode="General">
                  <c:v>5.75</c:v>
                </c:pt>
                <c:pt idx="770" formatCode="General">
                  <c:v>5.75</c:v>
                </c:pt>
                <c:pt idx="771" formatCode="General">
                  <c:v>5.75</c:v>
                </c:pt>
                <c:pt idx="772" formatCode="General">
                  <c:v>5.75</c:v>
                </c:pt>
                <c:pt idx="773" formatCode="General">
                  <c:v>5.75</c:v>
                </c:pt>
                <c:pt idx="774" formatCode="General">
                  <c:v>5.75</c:v>
                </c:pt>
                <c:pt idx="775" formatCode="General">
                  <c:v>5.75</c:v>
                </c:pt>
                <c:pt idx="776" formatCode="General">
                  <c:v>5.75</c:v>
                </c:pt>
                <c:pt idx="777" formatCode="General">
                  <c:v>5.75</c:v>
                </c:pt>
                <c:pt idx="778" formatCode="General">
                  <c:v>5.75</c:v>
                </c:pt>
                <c:pt idx="779" formatCode="General">
                  <c:v>5.75</c:v>
                </c:pt>
                <c:pt idx="780" formatCode="General">
                  <c:v>5.75</c:v>
                </c:pt>
                <c:pt idx="781" formatCode="General">
                  <c:v>5.75</c:v>
                </c:pt>
                <c:pt idx="782" formatCode="General">
                  <c:v>5.75</c:v>
                </c:pt>
                <c:pt idx="783" formatCode="General">
                  <c:v>5.75</c:v>
                </c:pt>
                <c:pt idx="784" formatCode="General">
                  <c:v>5.75</c:v>
                </c:pt>
                <c:pt idx="785" formatCode="General">
                  <c:v>5.75</c:v>
                </c:pt>
                <c:pt idx="786" formatCode="General">
                  <c:v>5.75</c:v>
                </c:pt>
                <c:pt idx="787" formatCode="General">
                  <c:v>5.75</c:v>
                </c:pt>
                <c:pt idx="788" formatCode="General">
                  <c:v>5.75</c:v>
                </c:pt>
                <c:pt idx="789" formatCode="General">
                  <c:v>5.75</c:v>
                </c:pt>
                <c:pt idx="790" formatCode="General">
                  <c:v>5.75</c:v>
                </c:pt>
                <c:pt idx="791" formatCode="General">
                  <c:v>5.75</c:v>
                </c:pt>
                <c:pt idx="792" formatCode="General">
                  <c:v>5.75</c:v>
                </c:pt>
                <c:pt idx="793" formatCode="General">
                  <c:v>5.75</c:v>
                </c:pt>
                <c:pt idx="794" formatCode="General">
                  <c:v>5.75</c:v>
                </c:pt>
                <c:pt idx="795" formatCode="General">
                  <c:v>5.75</c:v>
                </c:pt>
                <c:pt idx="796" formatCode="General">
                  <c:v>5.75</c:v>
                </c:pt>
                <c:pt idx="797" formatCode="General">
                  <c:v>5.75</c:v>
                </c:pt>
                <c:pt idx="798" formatCode="General">
                  <c:v>5.75</c:v>
                </c:pt>
                <c:pt idx="799" formatCode="General">
                  <c:v>5.75</c:v>
                </c:pt>
                <c:pt idx="800" formatCode="General">
                  <c:v>5.75</c:v>
                </c:pt>
                <c:pt idx="801" formatCode="General">
                  <c:v>5.75</c:v>
                </c:pt>
                <c:pt idx="802" formatCode="General">
                  <c:v>5.75</c:v>
                </c:pt>
                <c:pt idx="803" formatCode="General">
                  <c:v>5.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82B-41CE-9760-DAD93B769A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534752"/>
        <c:axId val="-104546176"/>
      </c:lineChart>
      <c:dateAx>
        <c:axId val="-104532576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yyyy;@" sourceLinked="0"/>
        <c:majorTickMark val="out"/>
        <c:minorTickMark val="out"/>
        <c:tickLblPos val="nextTo"/>
        <c:txPr>
          <a:bodyPr rot="-1620000" vert="horz"/>
          <a:lstStyle/>
          <a:p>
            <a:pPr>
              <a:defRPr sz="800"/>
            </a:pPr>
            <a:endParaRPr lang="en-US"/>
          </a:p>
        </c:txPr>
        <c:crossAx val="-104531488"/>
        <c:crosses val="autoZero"/>
        <c:auto val="1"/>
        <c:lblOffset val="100"/>
        <c:baseTimeUnit val="days"/>
        <c:majorUnit val="12"/>
        <c:majorTimeUnit val="months"/>
        <c:minorUnit val="1"/>
        <c:minorTimeUnit val="months"/>
      </c:dateAx>
      <c:valAx>
        <c:axId val="-104531488"/>
        <c:scaling>
          <c:orientation val="minMax"/>
          <c:max val="18"/>
          <c:min val="0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-104532576"/>
        <c:crosses val="autoZero"/>
        <c:crossBetween val="between"/>
        <c:majorUnit val="2"/>
      </c:valAx>
      <c:dateAx>
        <c:axId val="-104534752"/>
        <c:scaling>
          <c:orientation val="minMax"/>
        </c:scaling>
        <c:delete val="1"/>
        <c:axPos val="b"/>
        <c:numFmt formatCode="[$-409]d\-mmm\-yyyy;@" sourceLinked="1"/>
        <c:majorTickMark val="out"/>
        <c:minorTickMark val="none"/>
        <c:tickLblPos val="nextTo"/>
        <c:crossAx val="-104546176"/>
        <c:crosses val="autoZero"/>
        <c:auto val="1"/>
        <c:lblOffset val="100"/>
        <c:baseTimeUnit val="days"/>
      </c:dateAx>
      <c:valAx>
        <c:axId val="-104546176"/>
        <c:scaling>
          <c:orientation val="minMax"/>
          <c:max val="18"/>
          <c:min val="0"/>
        </c:scaling>
        <c:delete val="0"/>
        <c:axPos val="r"/>
        <c:numFmt formatCode="General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-104534752"/>
        <c:crosses val="max"/>
        <c:crossBetween val="between"/>
        <c:majorUnit val="2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75418953791811"/>
          <c:y val="2.5131752681395208E-2"/>
          <c:w val="0.85292370928940753"/>
          <c:h val="0.8322607633670510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T7-3'!$B$4</c:f>
              <c:strCache>
                <c:ptCount val="1"/>
                <c:pt idx="0">
                  <c:v>Kupovina</c:v>
                </c:pt>
              </c:strCache>
            </c:strRef>
          </c:tx>
          <c:spPr>
            <a:blipFill dpi="0" rotWithShape="0">
              <a:blip xmlns:r="http://schemas.openxmlformats.org/officeDocument/2006/relationships" r:embed="rId1"/>
              <a:srcRect/>
              <a:tile tx="0" ty="0" sx="100000" sy="100000" flip="none" algn="tl"/>
            </a:blipFill>
            <a:ln w="25400">
              <a:noFill/>
            </a:ln>
          </c:spPr>
          <c:invertIfNegative val="0"/>
          <c:cat>
            <c:multiLvlStrRef>
              <c:f>'T7-3'!$C$2:$AV$3</c:f>
              <c:multiLvlStrCache>
                <c:ptCount val="4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Apr-Maj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3'!$C$4:$AV$4</c:f>
              <c:numCache>
                <c:formatCode>General</c:formatCode>
                <c:ptCount val="42"/>
                <c:pt idx="0">
                  <c:v>10</c:v>
                </c:pt>
                <c:pt idx="1">
                  <c:v>40</c:v>
                </c:pt>
                <c:pt idx="2">
                  <c:v>475</c:v>
                </c:pt>
                <c:pt idx="3">
                  <c:v>295</c:v>
                </c:pt>
                <c:pt idx="4">
                  <c:v>0</c:v>
                </c:pt>
                <c:pt idx="5">
                  <c:v>505</c:v>
                </c:pt>
                <c:pt idx="6">
                  <c:v>605</c:v>
                </c:pt>
                <c:pt idx="7">
                  <c:v>200</c:v>
                </c:pt>
                <c:pt idx="8">
                  <c:v>580</c:v>
                </c:pt>
                <c:pt idx="9">
                  <c:v>790</c:v>
                </c:pt>
                <c:pt idx="10">
                  <c:v>420</c:v>
                </c:pt>
                <c:pt idx="11">
                  <c:v>45</c:v>
                </c:pt>
                <c:pt idx="12">
                  <c:v>165</c:v>
                </c:pt>
                <c:pt idx="13">
                  <c:v>920</c:v>
                </c:pt>
                <c:pt idx="14">
                  <c:v>1210</c:v>
                </c:pt>
                <c:pt idx="15">
                  <c:v>805</c:v>
                </c:pt>
                <c:pt idx="16">
                  <c:v>15</c:v>
                </c:pt>
                <c:pt idx="17">
                  <c:v>60</c:v>
                </c:pt>
                <c:pt idx="18">
                  <c:v>60</c:v>
                </c:pt>
                <c:pt idx="19">
                  <c:v>285</c:v>
                </c:pt>
                <c:pt idx="20">
                  <c:v>100</c:v>
                </c:pt>
                <c:pt idx="21">
                  <c:v>415</c:v>
                </c:pt>
                <c:pt idx="22">
                  <c:v>780</c:v>
                </c:pt>
                <c:pt idx="23">
                  <c:v>780</c:v>
                </c:pt>
                <c:pt idx="24">
                  <c:v>0</c:v>
                </c:pt>
                <c:pt idx="25">
                  <c:v>480</c:v>
                </c:pt>
                <c:pt idx="26">
                  <c:v>1365</c:v>
                </c:pt>
                <c:pt idx="27">
                  <c:v>1425</c:v>
                </c:pt>
                <c:pt idx="28">
                  <c:v>690</c:v>
                </c:pt>
                <c:pt idx="29">
                  <c:v>1395</c:v>
                </c:pt>
                <c:pt idx="30">
                  <c:v>1525</c:v>
                </c:pt>
                <c:pt idx="31">
                  <c:v>615</c:v>
                </c:pt>
                <c:pt idx="32">
                  <c:v>365</c:v>
                </c:pt>
                <c:pt idx="33">
                  <c:v>1010</c:v>
                </c:pt>
                <c:pt idx="34">
                  <c:v>505</c:v>
                </c:pt>
                <c:pt idx="35">
                  <c:v>990</c:v>
                </c:pt>
                <c:pt idx="36">
                  <c:v>0</c:v>
                </c:pt>
                <c:pt idx="37">
                  <c:v>645</c:v>
                </c:pt>
                <c:pt idx="38">
                  <c:v>830</c:v>
                </c:pt>
                <c:pt idx="39">
                  <c:v>0</c:v>
                </c:pt>
                <c:pt idx="40">
                  <c:v>0</c:v>
                </c:pt>
                <c:pt idx="41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07-9841-A5E1-F567C8604768}"/>
            </c:ext>
          </c:extLst>
        </c:ser>
        <c:ser>
          <c:idx val="1"/>
          <c:order val="1"/>
          <c:tx>
            <c:strRef>
              <c:f>'T7-3'!$B$5</c:f>
              <c:strCache>
                <c:ptCount val="1"/>
                <c:pt idx="0">
                  <c:v>Prodaja</c:v>
                </c:pt>
              </c:strCache>
            </c:strRef>
          </c:tx>
          <c:spPr>
            <a:blipFill dpi="0" rotWithShape="0">
              <a:blip xmlns:r="http://schemas.openxmlformats.org/officeDocument/2006/relationships" r:embed="rId2"/>
              <a:srcRect/>
              <a:tile tx="0" ty="0" sx="100000" sy="100000" flip="none" algn="tl"/>
            </a:blipFill>
            <a:ln w="25400">
              <a:noFill/>
            </a:ln>
          </c:spPr>
          <c:invertIfNegative val="0"/>
          <c:cat>
            <c:multiLvlStrRef>
              <c:f>'T7-3'!$C$2:$AV$3</c:f>
              <c:multiLvlStrCache>
                <c:ptCount val="4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Apr-Maj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3'!$C$5:$AV$5</c:f>
              <c:numCache>
                <c:formatCode>General</c:formatCode>
                <c:ptCount val="42"/>
                <c:pt idx="0">
                  <c:v>-575</c:v>
                </c:pt>
                <c:pt idx="1">
                  <c:v>-295</c:v>
                </c:pt>
                <c:pt idx="2">
                  <c:v>0</c:v>
                </c:pt>
                <c:pt idx="3">
                  <c:v>-110</c:v>
                </c:pt>
                <c:pt idx="4">
                  <c:v>-345</c:v>
                </c:pt>
                <c:pt idx="5">
                  <c:v>0</c:v>
                </c:pt>
                <c:pt idx="6">
                  <c:v>0</c:v>
                </c:pt>
                <c:pt idx="7">
                  <c:v>-285</c:v>
                </c:pt>
                <c:pt idx="8">
                  <c:v>-180</c:v>
                </c:pt>
                <c:pt idx="9">
                  <c:v>0</c:v>
                </c:pt>
                <c:pt idx="10">
                  <c:v>-15</c:v>
                </c:pt>
                <c:pt idx="11">
                  <c:v>-60</c:v>
                </c:pt>
                <c:pt idx="12">
                  <c:v>-130</c:v>
                </c:pt>
                <c:pt idx="13">
                  <c:v>0</c:v>
                </c:pt>
                <c:pt idx="14">
                  <c:v>-60</c:v>
                </c:pt>
                <c:pt idx="15">
                  <c:v>-215</c:v>
                </c:pt>
                <c:pt idx="16">
                  <c:v>-200</c:v>
                </c:pt>
                <c:pt idx="17">
                  <c:v>-905</c:v>
                </c:pt>
                <c:pt idx="18">
                  <c:v>-665</c:v>
                </c:pt>
                <c:pt idx="19">
                  <c:v>-100</c:v>
                </c:pt>
                <c:pt idx="20">
                  <c:v>-150</c:v>
                </c:pt>
                <c:pt idx="21">
                  <c:v>-45</c:v>
                </c:pt>
                <c:pt idx="22">
                  <c:v>0</c:v>
                </c:pt>
                <c:pt idx="23">
                  <c:v>-250</c:v>
                </c:pt>
                <c:pt idx="24">
                  <c:v>-2115</c:v>
                </c:pt>
                <c:pt idx="25">
                  <c:v>-155</c:v>
                </c:pt>
                <c:pt idx="26">
                  <c:v>0</c:v>
                </c:pt>
                <c:pt idx="27">
                  <c:v>0</c:v>
                </c:pt>
                <c:pt idx="28">
                  <c:v>-225</c:v>
                </c:pt>
                <c:pt idx="29">
                  <c:v>0</c:v>
                </c:pt>
                <c:pt idx="30">
                  <c:v>0</c:v>
                </c:pt>
                <c:pt idx="31">
                  <c:v>-60</c:v>
                </c:pt>
                <c:pt idx="32">
                  <c:v>-45</c:v>
                </c:pt>
                <c:pt idx="33">
                  <c:v>0</c:v>
                </c:pt>
                <c:pt idx="34">
                  <c:v>-100</c:v>
                </c:pt>
                <c:pt idx="35">
                  <c:v>0</c:v>
                </c:pt>
                <c:pt idx="36">
                  <c:v>-955</c:v>
                </c:pt>
                <c:pt idx="37">
                  <c:v>-90</c:v>
                </c:pt>
                <c:pt idx="38">
                  <c:v>0</c:v>
                </c:pt>
                <c:pt idx="39">
                  <c:v>-1010</c:v>
                </c:pt>
                <c:pt idx="40">
                  <c:v>-1220</c:v>
                </c:pt>
                <c:pt idx="4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07-9841-A5E1-F567C86047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-99579072"/>
        <c:axId val="-99577984"/>
      </c:barChart>
      <c:lineChart>
        <c:grouping val="standard"/>
        <c:varyColors val="0"/>
        <c:ser>
          <c:idx val="2"/>
          <c:order val="2"/>
          <c:tx>
            <c:strRef>
              <c:f>'T7-3'!$B$6</c:f>
              <c:strCache>
                <c:ptCount val="1"/>
                <c:pt idx="0">
                  <c:v>Neto 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multiLvlStrRef>
              <c:f>'T7-3'!$C$2:$AV$3</c:f>
              <c:multiLvlStrCache>
                <c:ptCount val="4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Apr-Maj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3'!$C$6:$AV$6</c:f>
              <c:numCache>
                <c:formatCode>General</c:formatCode>
                <c:ptCount val="42"/>
                <c:pt idx="0">
                  <c:v>-565</c:v>
                </c:pt>
                <c:pt idx="1">
                  <c:v>-255</c:v>
                </c:pt>
                <c:pt idx="2">
                  <c:v>475</c:v>
                </c:pt>
                <c:pt idx="3">
                  <c:v>185</c:v>
                </c:pt>
                <c:pt idx="4">
                  <c:v>-345</c:v>
                </c:pt>
                <c:pt idx="5">
                  <c:v>505</c:v>
                </c:pt>
                <c:pt idx="6">
                  <c:v>605</c:v>
                </c:pt>
                <c:pt idx="7">
                  <c:v>-85</c:v>
                </c:pt>
                <c:pt idx="8">
                  <c:v>400</c:v>
                </c:pt>
                <c:pt idx="9">
                  <c:v>790</c:v>
                </c:pt>
                <c:pt idx="10">
                  <c:v>405</c:v>
                </c:pt>
                <c:pt idx="11">
                  <c:v>-15</c:v>
                </c:pt>
                <c:pt idx="12">
                  <c:v>35</c:v>
                </c:pt>
                <c:pt idx="13">
                  <c:v>920</c:v>
                </c:pt>
                <c:pt idx="14">
                  <c:v>1150</c:v>
                </c:pt>
                <c:pt idx="15">
                  <c:v>590</c:v>
                </c:pt>
                <c:pt idx="16">
                  <c:v>-185</c:v>
                </c:pt>
                <c:pt idx="17">
                  <c:v>-845</c:v>
                </c:pt>
                <c:pt idx="18">
                  <c:v>-605</c:v>
                </c:pt>
                <c:pt idx="19">
                  <c:v>185</c:v>
                </c:pt>
                <c:pt idx="20">
                  <c:v>-50</c:v>
                </c:pt>
                <c:pt idx="21">
                  <c:v>370</c:v>
                </c:pt>
                <c:pt idx="22">
                  <c:v>780</c:v>
                </c:pt>
                <c:pt idx="23">
                  <c:v>530</c:v>
                </c:pt>
                <c:pt idx="24">
                  <c:v>-2115</c:v>
                </c:pt>
                <c:pt idx="25">
                  <c:v>325</c:v>
                </c:pt>
                <c:pt idx="26">
                  <c:v>1365</c:v>
                </c:pt>
                <c:pt idx="27">
                  <c:v>1425</c:v>
                </c:pt>
                <c:pt idx="28">
                  <c:v>465</c:v>
                </c:pt>
                <c:pt idx="29">
                  <c:v>1395</c:v>
                </c:pt>
                <c:pt idx="30">
                  <c:v>1525</c:v>
                </c:pt>
                <c:pt idx="31">
                  <c:v>555</c:v>
                </c:pt>
                <c:pt idx="32">
                  <c:v>320</c:v>
                </c:pt>
                <c:pt idx="33">
                  <c:v>1010</c:v>
                </c:pt>
                <c:pt idx="34">
                  <c:v>405</c:v>
                </c:pt>
                <c:pt idx="35">
                  <c:v>990</c:v>
                </c:pt>
                <c:pt idx="36">
                  <c:v>-955</c:v>
                </c:pt>
                <c:pt idx="37">
                  <c:v>555</c:v>
                </c:pt>
                <c:pt idx="38">
                  <c:v>830</c:v>
                </c:pt>
                <c:pt idx="39">
                  <c:v>-1010</c:v>
                </c:pt>
                <c:pt idx="40">
                  <c:v>-1220</c:v>
                </c:pt>
                <c:pt idx="41">
                  <c:v>6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B07-9841-A5E1-F567C86047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9579072"/>
        <c:axId val="-99577984"/>
      </c:lineChart>
      <c:lineChart>
        <c:grouping val="standard"/>
        <c:varyColors val="0"/>
        <c:ser>
          <c:idx val="3"/>
          <c:order val="3"/>
          <c:tx>
            <c:strRef>
              <c:f>'T7-3'!$B$7</c:f>
              <c:strCache>
                <c:ptCount val="1"/>
                <c:pt idx="0">
                  <c:v>Nominalni kurs (desna skala)</c:v>
                </c:pt>
              </c:strCache>
            </c:strRef>
          </c:tx>
          <c:marker>
            <c:symbol val="none"/>
          </c:marker>
          <c:cat>
            <c:multiLvlStrRef>
              <c:f>'T7-3'!$C$2:$AV$3</c:f>
              <c:multiLvlStrCache>
                <c:ptCount val="4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Apr-Maj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3'!$C$7:$AV$7</c:f>
              <c:numCache>
                <c:formatCode>General</c:formatCode>
                <c:ptCount val="42"/>
                <c:pt idx="0">
                  <c:v>123.13209999999999</c:v>
                </c:pt>
                <c:pt idx="1">
                  <c:v>123.4</c:v>
                </c:pt>
                <c:pt idx="2">
                  <c:v>123.2312</c:v>
                </c:pt>
                <c:pt idx="3">
                  <c:v>123.4187</c:v>
                </c:pt>
                <c:pt idx="4">
                  <c:v>123.8934</c:v>
                </c:pt>
                <c:pt idx="5">
                  <c:v>122.0189</c:v>
                </c:pt>
                <c:pt idx="6">
                  <c:v>119.2957</c:v>
                </c:pt>
                <c:pt idx="7">
                  <c:v>119.13939999999999</c:v>
                </c:pt>
                <c:pt idx="8">
                  <c:v>118.2688</c:v>
                </c:pt>
                <c:pt idx="9">
                  <c:v>118.1348</c:v>
                </c:pt>
                <c:pt idx="10">
                  <c:v>118.2786</c:v>
                </c:pt>
                <c:pt idx="11">
                  <c:v>118.27719999999999</c:v>
                </c:pt>
                <c:pt idx="12">
                  <c:v>118.0416</c:v>
                </c:pt>
                <c:pt idx="13">
                  <c:v>117.93770000000001</c:v>
                </c:pt>
                <c:pt idx="14">
                  <c:v>117.5958</c:v>
                </c:pt>
                <c:pt idx="15">
                  <c:v>117.53830000000001</c:v>
                </c:pt>
                <c:pt idx="16">
                  <c:v>117.5625</c:v>
                </c:pt>
                <c:pt idx="17">
                  <c:v>117.5852</c:v>
                </c:pt>
                <c:pt idx="18">
                  <c:v>117.583</c:v>
                </c:pt>
                <c:pt idx="19">
                  <c:v>117.57769999999999</c:v>
                </c:pt>
                <c:pt idx="20">
                  <c:v>117.57640000000001</c:v>
                </c:pt>
                <c:pt idx="21">
                  <c:v>117.5703</c:v>
                </c:pt>
                <c:pt idx="22">
                  <c:v>117.5668</c:v>
                </c:pt>
                <c:pt idx="23">
                  <c:v>117.5801</c:v>
                </c:pt>
                <c:pt idx="24">
                  <c:v>117.67659999999999</c:v>
                </c:pt>
                <c:pt idx="25">
                  <c:v>117.4297</c:v>
                </c:pt>
                <c:pt idx="26">
                  <c:v>117.3246</c:v>
                </c:pt>
                <c:pt idx="27">
                  <c:v>117.3224</c:v>
                </c:pt>
                <c:pt idx="28">
                  <c:v>117.2933</c:v>
                </c:pt>
                <c:pt idx="29">
                  <c:v>117.23009999999999</c:v>
                </c:pt>
                <c:pt idx="30">
                  <c:v>117.1996</c:v>
                </c:pt>
                <c:pt idx="31">
                  <c:v>117.1737</c:v>
                </c:pt>
                <c:pt idx="32">
                  <c:v>117.14149999999999</c:v>
                </c:pt>
                <c:pt idx="33">
                  <c:v>117.04900000000001</c:v>
                </c:pt>
                <c:pt idx="34">
                  <c:v>117.084</c:v>
                </c:pt>
                <c:pt idx="35">
                  <c:v>117.0149</c:v>
                </c:pt>
                <c:pt idx="36">
                  <c:v>117.2106</c:v>
                </c:pt>
                <c:pt idx="37">
                  <c:v>117.17400000000001</c:v>
                </c:pt>
                <c:pt idx="38">
                  <c:v>117.2004</c:v>
                </c:pt>
                <c:pt idx="39">
                  <c:v>117.282</c:v>
                </c:pt>
                <c:pt idx="40">
                  <c:v>117.4225</c:v>
                </c:pt>
                <c:pt idx="41">
                  <c:v>117.41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FB07-9841-A5E1-F567C86047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9570912"/>
        <c:axId val="-99577440"/>
      </c:lineChart>
      <c:catAx>
        <c:axId val="-9957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88000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7984"/>
        <c:crosses val="autoZero"/>
        <c:auto val="0"/>
        <c:lblAlgn val="ctr"/>
        <c:lblOffset val="40"/>
        <c:noMultiLvlLbl val="0"/>
      </c:catAx>
      <c:valAx>
        <c:axId val="-99577984"/>
        <c:scaling>
          <c:orientation val="minMax"/>
          <c:min val="-2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sr-Latn-RS" noProof="0" dirty="0"/>
                  <a:t>u milionima evra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#,##0" sourceLinked="0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9072"/>
        <c:crosses val="autoZero"/>
        <c:crossBetween val="between"/>
      </c:valAx>
      <c:catAx>
        <c:axId val="-995709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99577440"/>
        <c:crosses val="autoZero"/>
        <c:auto val="1"/>
        <c:lblAlgn val="ctr"/>
        <c:lblOffset val="100"/>
        <c:noMultiLvlLbl val="0"/>
      </c:catAx>
      <c:valAx>
        <c:axId val="-9957744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0912"/>
        <c:crosses val="max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33377420699728783"/>
          <c:y val="0.94454965566074478"/>
          <c:w val="0.33248301083869097"/>
          <c:h val="3.1124129054723684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63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>
      <a:softEdge rad="38100"/>
    </a:effectLst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728247412469667"/>
          <c:y val="3.0283839520059991E-2"/>
          <c:w val="0.8794923548965915"/>
          <c:h val="0.75717281343384479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T7-6'!$A$7</c:f>
              <c:strCache>
                <c:ptCount val="1"/>
                <c:pt idx="0">
                  <c:v>Preduzeća</c:v>
                </c:pt>
              </c:strCache>
            </c:strRef>
          </c:tx>
          <c:spPr>
            <a:solidFill>
              <a:srgbClr val="FF3300"/>
            </a:solidFill>
          </c:spPr>
          <c:invertIfNegative val="0"/>
          <c:cat>
            <c:multiLvlStrRef>
              <c:f>'T7-6'!$E$2:$AX$3</c:f>
              <c:multiLvlStrCache>
                <c:ptCount val="46"/>
                <c:lvl>
                  <c:pt idx="0">
                    <c:v>Q4</c:v>
                  </c:pt>
                  <c:pt idx="1">
                    <c:v>Q1</c:v>
                  </c:pt>
                  <c:pt idx="2">
                    <c:v>Q2</c:v>
                  </c:pt>
                  <c:pt idx="3">
                    <c:v>Q3</c:v>
                  </c:pt>
                  <c:pt idx="4">
                    <c:v>Q4</c:v>
                  </c:pt>
                  <c:pt idx="5">
                    <c:v>Q1</c:v>
                  </c:pt>
                  <c:pt idx="6">
                    <c:v>Q2</c:v>
                  </c:pt>
                  <c:pt idx="7">
                    <c:v>Q3</c:v>
                  </c:pt>
                  <c:pt idx="8">
                    <c:v>Q4</c:v>
                  </c:pt>
                  <c:pt idx="9">
                    <c:v>Q1</c:v>
                  </c:pt>
                  <c:pt idx="10">
                    <c:v>Q2</c:v>
                  </c:pt>
                  <c:pt idx="11">
                    <c:v>Q3</c:v>
                  </c:pt>
                  <c:pt idx="12">
                    <c:v>Q4</c:v>
                  </c:pt>
                  <c:pt idx="13">
                    <c:v>Q1</c:v>
                  </c:pt>
                  <c:pt idx="14">
                    <c:v>Q2</c:v>
                  </c:pt>
                  <c:pt idx="15">
                    <c:v>Q3</c:v>
                  </c:pt>
                  <c:pt idx="16">
                    <c:v>Q4</c:v>
                  </c:pt>
                  <c:pt idx="17">
                    <c:v>Q1</c:v>
                  </c:pt>
                  <c:pt idx="18">
                    <c:v>Q2</c:v>
                  </c:pt>
                  <c:pt idx="19">
                    <c:v>Q3</c:v>
                  </c:pt>
                  <c:pt idx="20">
                    <c:v>Q4</c:v>
                  </c:pt>
                  <c:pt idx="21">
                    <c:v>Q1</c:v>
                  </c:pt>
                  <c:pt idx="22">
                    <c:v>Q2</c:v>
                  </c:pt>
                  <c:pt idx="23">
                    <c:v>Q3</c:v>
                  </c:pt>
                  <c:pt idx="24">
                    <c:v>Q4</c:v>
                  </c:pt>
                  <c:pt idx="25">
                    <c:v>Q1</c:v>
                  </c:pt>
                  <c:pt idx="26">
                    <c:v>Q2</c:v>
                  </c:pt>
                  <c:pt idx="27">
                    <c:v>Q3</c:v>
                  </c:pt>
                  <c:pt idx="28">
                    <c:v>Q4</c:v>
                  </c:pt>
                  <c:pt idx="29">
                    <c:v>Q1</c:v>
                  </c:pt>
                  <c:pt idx="30">
                    <c:v>Q2</c:v>
                  </c:pt>
                  <c:pt idx="31">
                    <c:v>Q3</c:v>
                  </c:pt>
                  <c:pt idx="32">
                    <c:v>Q4</c:v>
                  </c:pt>
                  <c:pt idx="33">
                    <c:v>Q1</c:v>
                  </c:pt>
                  <c:pt idx="34">
                    <c:v>Q2</c:v>
                  </c:pt>
                  <c:pt idx="35">
                    <c:v>Q3</c:v>
                  </c:pt>
                  <c:pt idx="36">
                    <c:v>Q4</c:v>
                  </c:pt>
                  <c:pt idx="37">
                    <c:v>Q1</c:v>
                  </c:pt>
                  <c:pt idx="38">
                    <c:v>Q2</c:v>
                  </c:pt>
                  <c:pt idx="39">
                    <c:v>Q3</c:v>
                  </c:pt>
                  <c:pt idx="40">
                    <c:v>Q4</c:v>
                  </c:pt>
                  <c:pt idx="41">
                    <c:v>Q1</c:v>
                  </c:pt>
                  <c:pt idx="42">
                    <c:v>Q2</c:v>
                  </c:pt>
                  <c:pt idx="43">
                    <c:v>Q3</c:v>
                  </c:pt>
                  <c:pt idx="44">
                    <c:v>Q4</c:v>
                  </c:pt>
                  <c:pt idx="45">
                    <c:v>Q1</c:v>
                  </c:pt>
                </c:lvl>
                <c:lvl>
                  <c:pt idx="1">
                    <c:v>2015</c:v>
                  </c:pt>
                  <c:pt idx="5">
                    <c:v>2016</c:v>
                  </c:pt>
                  <c:pt idx="9">
                    <c:v>2017</c:v>
                  </c:pt>
                  <c:pt idx="13">
                    <c:v>2018</c:v>
                  </c:pt>
                  <c:pt idx="17">
                    <c:v>2019</c:v>
                  </c:pt>
                  <c:pt idx="21">
                    <c:v>2020</c:v>
                  </c:pt>
                  <c:pt idx="25">
                    <c:v>2021</c:v>
                  </c:pt>
                  <c:pt idx="29">
                    <c:v>2022</c:v>
                  </c:pt>
                  <c:pt idx="33">
                    <c:v>2023</c:v>
                  </c:pt>
                  <c:pt idx="37">
                    <c:v>2024</c:v>
                  </c:pt>
                  <c:pt idx="41">
                    <c:v>2025</c:v>
                  </c:pt>
                  <c:pt idx="45">
                    <c:v>2026</c:v>
                  </c:pt>
                </c:lvl>
              </c:multiLvlStrCache>
            </c:multiLvlStrRef>
          </c:cat>
          <c:val>
            <c:numRef>
              <c:f>'T7-6'!$E$7:$AX$7</c:f>
              <c:numCache>
                <c:formatCode>General</c:formatCode>
                <c:ptCount val="46"/>
                <c:pt idx="0">
                  <c:v>64</c:v>
                </c:pt>
                <c:pt idx="1">
                  <c:v>-86</c:v>
                </c:pt>
                <c:pt idx="2">
                  <c:v>-120.18907196119621</c:v>
                </c:pt>
                <c:pt idx="3">
                  <c:v>140.06047535051138</c:v>
                </c:pt>
                <c:pt idx="4">
                  <c:v>218.73609551989881</c:v>
                </c:pt>
                <c:pt idx="5">
                  <c:v>-373.75801083826252</c:v>
                </c:pt>
                <c:pt idx="6">
                  <c:v>145.35059709300793</c:v>
                </c:pt>
                <c:pt idx="7">
                  <c:v>110.24895429843073</c:v>
                </c:pt>
                <c:pt idx="8">
                  <c:v>-211.40820361863811</c:v>
                </c:pt>
                <c:pt idx="9">
                  <c:v>-119.36644211450596</c:v>
                </c:pt>
                <c:pt idx="10">
                  <c:v>83.696925466029995</c:v>
                </c:pt>
                <c:pt idx="11">
                  <c:v>93.173517729554121</c:v>
                </c:pt>
                <c:pt idx="12">
                  <c:v>77.943191325704603</c:v>
                </c:pt>
                <c:pt idx="13">
                  <c:v>-57.6890182006712</c:v>
                </c:pt>
                <c:pt idx="14">
                  <c:v>132.71702662071738</c:v>
                </c:pt>
                <c:pt idx="15">
                  <c:v>84.284756518590243</c:v>
                </c:pt>
                <c:pt idx="16">
                  <c:v>563.87414542681859</c:v>
                </c:pt>
                <c:pt idx="17">
                  <c:v>-1.5084793091855673</c:v>
                </c:pt>
                <c:pt idx="18">
                  <c:v>239.50994365112865</c:v>
                </c:pt>
                <c:pt idx="19">
                  <c:v>352.1009852743922</c:v>
                </c:pt>
                <c:pt idx="20">
                  <c:v>370.67353685916009</c:v>
                </c:pt>
                <c:pt idx="21">
                  <c:v>437.86190241692674</c:v>
                </c:pt>
                <c:pt idx="22">
                  <c:v>377.13068014051447</c:v>
                </c:pt>
                <c:pt idx="23">
                  <c:v>318.37372363080476</c:v>
                </c:pt>
                <c:pt idx="24">
                  <c:v>-2.8875472956724479</c:v>
                </c:pt>
                <c:pt idx="25">
                  <c:v>37.858500056358025</c:v>
                </c:pt>
                <c:pt idx="26">
                  <c:v>181.01999025330406</c:v>
                </c:pt>
                <c:pt idx="27" formatCode="#,##0">
                  <c:v>391.39192639639987</c:v>
                </c:pt>
                <c:pt idx="28" formatCode="#,##0">
                  <c:v>580.91973700726157</c:v>
                </c:pt>
                <c:pt idx="29" formatCode="#,##0">
                  <c:v>475.15250768766236</c:v>
                </c:pt>
                <c:pt idx="30">
                  <c:v>576.85075515501376</c:v>
                </c:pt>
                <c:pt idx="31">
                  <c:v>267.77822167985687</c:v>
                </c:pt>
                <c:pt idx="32" formatCode="#,##0">
                  <c:v>-270.93126618481074</c:v>
                </c:pt>
                <c:pt idx="33">
                  <c:v>-173.698464314175</c:v>
                </c:pt>
                <c:pt idx="34">
                  <c:v>17.089513820135835</c:v>
                </c:pt>
                <c:pt idx="35">
                  <c:v>134.05372129143871</c:v>
                </c:pt>
                <c:pt idx="36">
                  <c:v>186.54614036054409</c:v>
                </c:pt>
                <c:pt idx="37">
                  <c:v>-254.47454194337115</c:v>
                </c:pt>
                <c:pt idx="38">
                  <c:v>682.35785687933276</c:v>
                </c:pt>
                <c:pt idx="39">
                  <c:v>293.36851424691667</c:v>
                </c:pt>
                <c:pt idx="40">
                  <c:v>359.03696704206959</c:v>
                </c:pt>
                <c:pt idx="41">
                  <c:v>-130.39719809640337</c:v>
                </c:pt>
                <c:pt idx="42">
                  <c:v>640.23484735581224</c:v>
                </c:pt>
                <c:pt idx="43">
                  <c:v>553.63904476445532</c:v>
                </c:pt>
                <c:pt idx="44">
                  <c:v>678.64022818493686</c:v>
                </c:pt>
                <c:pt idx="45">
                  <c:v>100.120079379736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F3-D54D-AA7B-3435C02DEADE}"/>
            </c:ext>
          </c:extLst>
        </c:ser>
        <c:ser>
          <c:idx val="2"/>
          <c:order val="2"/>
          <c:tx>
            <c:strRef>
              <c:f>'T7-6'!$A$8</c:f>
              <c:strCache>
                <c:ptCount val="1"/>
                <c:pt idx="0">
                  <c:v>Stanovništvo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multiLvlStrRef>
              <c:f>'T7-6'!$E$2:$AX$3</c:f>
              <c:multiLvlStrCache>
                <c:ptCount val="46"/>
                <c:lvl>
                  <c:pt idx="0">
                    <c:v>Q4</c:v>
                  </c:pt>
                  <c:pt idx="1">
                    <c:v>Q1</c:v>
                  </c:pt>
                  <c:pt idx="2">
                    <c:v>Q2</c:v>
                  </c:pt>
                  <c:pt idx="3">
                    <c:v>Q3</c:v>
                  </c:pt>
                  <c:pt idx="4">
                    <c:v>Q4</c:v>
                  </c:pt>
                  <c:pt idx="5">
                    <c:v>Q1</c:v>
                  </c:pt>
                  <c:pt idx="6">
                    <c:v>Q2</c:v>
                  </c:pt>
                  <c:pt idx="7">
                    <c:v>Q3</c:v>
                  </c:pt>
                  <c:pt idx="8">
                    <c:v>Q4</c:v>
                  </c:pt>
                  <c:pt idx="9">
                    <c:v>Q1</c:v>
                  </c:pt>
                  <c:pt idx="10">
                    <c:v>Q2</c:v>
                  </c:pt>
                  <c:pt idx="11">
                    <c:v>Q3</c:v>
                  </c:pt>
                  <c:pt idx="12">
                    <c:v>Q4</c:v>
                  </c:pt>
                  <c:pt idx="13">
                    <c:v>Q1</c:v>
                  </c:pt>
                  <c:pt idx="14">
                    <c:v>Q2</c:v>
                  </c:pt>
                  <c:pt idx="15">
                    <c:v>Q3</c:v>
                  </c:pt>
                  <c:pt idx="16">
                    <c:v>Q4</c:v>
                  </c:pt>
                  <c:pt idx="17">
                    <c:v>Q1</c:v>
                  </c:pt>
                  <c:pt idx="18">
                    <c:v>Q2</c:v>
                  </c:pt>
                  <c:pt idx="19">
                    <c:v>Q3</c:v>
                  </c:pt>
                  <c:pt idx="20">
                    <c:v>Q4</c:v>
                  </c:pt>
                  <c:pt idx="21">
                    <c:v>Q1</c:v>
                  </c:pt>
                  <c:pt idx="22">
                    <c:v>Q2</c:v>
                  </c:pt>
                  <c:pt idx="23">
                    <c:v>Q3</c:v>
                  </c:pt>
                  <c:pt idx="24">
                    <c:v>Q4</c:v>
                  </c:pt>
                  <c:pt idx="25">
                    <c:v>Q1</c:v>
                  </c:pt>
                  <c:pt idx="26">
                    <c:v>Q2</c:v>
                  </c:pt>
                  <c:pt idx="27">
                    <c:v>Q3</c:v>
                  </c:pt>
                  <c:pt idx="28">
                    <c:v>Q4</c:v>
                  </c:pt>
                  <c:pt idx="29">
                    <c:v>Q1</c:v>
                  </c:pt>
                  <c:pt idx="30">
                    <c:v>Q2</c:v>
                  </c:pt>
                  <c:pt idx="31">
                    <c:v>Q3</c:v>
                  </c:pt>
                  <c:pt idx="32">
                    <c:v>Q4</c:v>
                  </c:pt>
                  <c:pt idx="33">
                    <c:v>Q1</c:v>
                  </c:pt>
                  <c:pt idx="34">
                    <c:v>Q2</c:v>
                  </c:pt>
                  <c:pt idx="35">
                    <c:v>Q3</c:v>
                  </c:pt>
                  <c:pt idx="36">
                    <c:v>Q4</c:v>
                  </c:pt>
                  <c:pt idx="37">
                    <c:v>Q1</c:v>
                  </c:pt>
                  <c:pt idx="38">
                    <c:v>Q2</c:v>
                  </c:pt>
                  <c:pt idx="39">
                    <c:v>Q3</c:v>
                  </c:pt>
                  <c:pt idx="40">
                    <c:v>Q4</c:v>
                  </c:pt>
                  <c:pt idx="41">
                    <c:v>Q1</c:v>
                  </c:pt>
                  <c:pt idx="42">
                    <c:v>Q2</c:v>
                  </c:pt>
                  <c:pt idx="43">
                    <c:v>Q3</c:v>
                  </c:pt>
                  <c:pt idx="44">
                    <c:v>Q4</c:v>
                  </c:pt>
                  <c:pt idx="45">
                    <c:v>Q1</c:v>
                  </c:pt>
                </c:lvl>
                <c:lvl>
                  <c:pt idx="1">
                    <c:v>2015</c:v>
                  </c:pt>
                  <c:pt idx="5">
                    <c:v>2016</c:v>
                  </c:pt>
                  <c:pt idx="9">
                    <c:v>2017</c:v>
                  </c:pt>
                  <c:pt idx="13">
                    <c:v>2018</c:v>
                  </c:pt>
                  <c:pt idx="17">
                    <c:v>2019</c:v>
                  </c:pt>
                  <c:pt idx="21">
                    <c:v>2020</c:v>
                  </c:pt>
                  <c:pt idx="25">
                    <c:v>2021</c:v>
                  </c:pt>
                  <c:pt idx="29">
                    <c:v>2022</c:v>
                  </c:pt>
                  <c:pt idx="33">
                    <c:v>2023</c:v>
                  </c:pt>
                  <c:pt idx="37">
                    <c:v>2024</c:v>
                  </c:pt>
                  <c:pt idx="41">
                    <c:v>2025</c:v>
                  </c:pt>
                  <c:pt idx="45">
                    <c:v>2026</c:v>
                  </c:pt>
                </c:lvl>
              </c:multiLvlStrCache>
            </c:multiLvlStrRef>
          </c:cat>
          <c:val>
            <c:numRef>
              <c:f>'T7-6'!$E$8:$AX$8</c:f>
              <c:numCache>
                <c:formatCode>General</c:formatCode>
                <c:ptCount val="46"/>
                <c:pt idx="0">
                  <c:v>-47</c:v>
                </c:pt>
                <c:pt idx="1">
                  <c:v>111</c:v>
                </c:pt>
                <c:pt idx="2">
                  <c:v>75.163000695404023</c:v>
                </c:pt>
                <c:pt idx="3">
                  <c:v>45.471681982688665</c:v>
                </c:pt>
                <c:pt idx="4">
                  <c:v>19.251900221077648</c:v>
                </c:pt>
                <c:pt idx="5">
                  <c:v>57.27894077087911</c:v>
                </c:pt>
                <c:pt idx="6">
                  <c:v>202.92306260340803</c:v>
                </c:pt>
                <c:pt idx="7">
                  <c:v>186.8971556997713</c:v>
                </c:pt>
                <c:pt idx="8">
                  <c:v>109.58530790843326</c:v>
                </c:pt>
                <c:pt idx="9">
                  <c:v>180.45019329409413</c:v>
                </c:pt>
                <c:pt idx="10">
                  <c:v>329.15711936442415</c:v>
                </c:pt>
                <c:pt idx="11">
                  <c:v>172.52977042795072</c:v>
                </c:pt>
                <c:pt idx="12">
                  <c:v>151.04848720418124</c:v>
                </c:pt>
                <c:pt idx="13">
                  <c:v>162.27103670562775</c:v>
                </c:pt>
                <c:pt idx="14">
                  <c:v>344.87098757298901</c:v>
                </c:pt>
                <c:pt idx="15">
                  <c:v>274.16646546811467</c:v>
                </c:pt>
                <c:pt idx="16">
                  <c:v>190.71042363302479</c:v>
                </c:pt>
                <c:pt idx="17">
                  <c:v>175.66575508466764</c:v>
                </c:pt>
                <c:pt idx="18">
                  <c:v>130.60819687750524</c:v>
                </c:pt>
                <c:pt idx="19">
                  <c:v>285.74471048576004</c:v>
                </c:pt>
                <c:pt idx="20">
                  <c:v>250.4708189423917</c:v>
                </c:pt>
                <c:pt idx="21">
                  <c:v>164.29807921111012</c:v>
                </c:pt>
                <c:pt idx="22">
                  <c:v>427.45946673333822</c:v>
                </c:pt>
                <c:pt idx="23">
                  <c:v>423.81112562191447</c:v>
                </c:pt>
                <c:pt idx="24">
                  <c:v>67.656851489629389</c:v>
                </c:pt>
                <c:pt idx="25">
                  <c:v>186.96656275687383</c:v>
                </c:pt>
                <c:pt idx="26">
                  <c:v>378.38063521325603</c:v>
                </c:pt>
                <c:pt idx="27">
                  <c:v>315.7617140376351</c:v>
                </c:pt>
                <c:pt idx="28">
                  <c:v>234.64892216442968</c:v>
                </c:pt>
                <c:pt idx="29" formatCode="#,##0">
                  <c:v>187.66455947700524</c:v>
                </c:pt>
                <c:pt idx="30">
                  <c:v>343.81675937075124</c:v>
                </c:pt>
                <c:pt idx="31">
                  <c:v>184.88746136583177</c:v>
                </c:pt>
                <c:pt idx="32" formatCode="#,##0">
                  <c:v>19.517772205521396</c:v>
                </c:pt>
                <c:pt idx="33">
                  <c:v>-1.9881252890918404</c:v>
                </c:pt>
                <c:pt idx="34">
                  <c:v>134.12994018558311</c:v>
                </c:pt>
                <c:pt idx="35">
                  <c:v>59.553393442110973</c:v>
                </c:pt>
                <c:pt idx="36">
                  <c:v>-32.002708727452045</c:v>
                </c:pt>
                <c:pt idx="37">
                  <c:v>175.03807731683992</c:v>
                </c:pt>
                <c:pt idx="38">
                  <c:v>422.17480177497418</c:v>
                </c:pt>
                <c:pt idx="39">
                  <c:v>414.39105082567039</c:v>
                </c:pt>
                <c:pt idx="40">
                  <c:v>290.57232734115678</c:v>
                </c:pt>
                <c:pt idx="41">
                  <c:v>341.45256930632058</c:v>
                </c:pt>
                <c:pt idx="42">
                  <c:v>783.08616278510999</c:v>
                </c:pt>
                <c:pt idx="43">
                  <c:v>754.40834664014983</c:v>
                </c:pt>
                <c:pt idx="44">
                  <c:v>789.96819996654631</c:v>
                </c:pt>
                <c:pt idx="45">
                  <c:v>609.532442464340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8F3-D54D-AA7B-3435C02DEADE}"/>
            </c:ext>
          </c:extLst>
        </c:ser>
        <c:ser>
          <c:idx val="3"/>
          <c:order val="3"/>
          <c:tx>
            <c:strRef>
              <c:f>'T7-6'!$A$10</c:f>
              <c:strCache>
                <c:ptCount val="1"/>
                <c:pt idx="0">
                  <c:v>Zaduživanje preduzeća u inostranstv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multiLvlStrRef>
              <c:f>'T7-6'!$E$2:$AX$3</c:f>
              <c:multiLvlStrCache>
                <c:ptCount val="46"/>
                <c:lvl>
                  <c:pt idx="0">
                    <c:v>Q4</c:v>
                  </c:pt>
                  <c:pt idx="1">
                    <c:v>Q1</c:v>
                  </c:pt>
                  <c:pt idx="2">
                    <c:v>Q2</c:v>
                  </c:pt>
                  <c:pt idx="3">
                    <c:v>Q3</c:v>
                  </c:pt>
                  <c:pt idx="4">
                    <c:v>Q4</c:v>
                  </c:pt>
                  <c:pt idx="5">
                    <c:v>Q1</c:v>
                  </c:pt>
                  <c:pt idx="6">
                    <c:v>Q2</c:v>
                  </c:pt>
                  <c:pt idx="7">
                    <c:v>Q3</c:v>
                  </c:pt>
                  <c:pt idx="8">
                    <c:v>Q4</c:v>
                  </c:pt>
                  <c:pt idx="9">
                    <c:v>Q1</c:v>
                  </c:pt>
                  <c:pt idx="10">
                    <c:v>Q2</c:v>
                  </c:pt>
                  <c:pt idx="11">
                    <c:v>Q3</c:v>
                  </c:pt>
                  <c:pt idx="12">
                    <c:v>Q4</c:v>
                  </c:pt>
                  <c:pt idx="13">
                    <c:v>Q1</c:v>
                  </c:pt>
                  <c:pt idx="14">
                    <c:v>Q2</c:v>
                  </c:pt>
                  <c:pt idx="15">
                    <c:v>Q3</c:v>
                  </c:pt>
                  <c:pt idx="16">
                    <c:v>Q4</c:v>
                  </c:pt>
                  <c:pt idx="17">
                    <c:v>Q1</c:v>
                  </c:pt>
                  <c:pt idx="18">
                    <c:v>Q2</c:v>
                  </c:pt>
                  <c:pt idx="19">
                    <c:v>Q3</c:v>
                  </c:pt>
                  <c:pt idx="20">
                    <c:v>Q4</c:v>
                  </c:pt>
                  <c:pt idx="21">
                    <c:v>Q1</c:v>
                  </c:pt>
                  <c:pt idx="22">
                    <c:v>Q2</c:v>
                  </c:pt>
                  <c:pt idx="23">
                    <c:v>Q3</c:v>
                  </c:pt>
                  <c:pt idx="24">
                    <c:v>Q4</c:v>
                  </c:pt>
                  <c:pt idx="25">
                    <c:v>Q1</c:v>
                  </c:pt>
                  <c:pt idx="26">
                    <c:v>Q2</c:v>
                  </c:pt>
                  <c:pt idx="27">
                    <c:v>Q3</c:v>
                  </c:pt>
                  <c:pt idx="28">
                    <c:v>Q4</c:v>
                  </c:pt>
                  <c:pt idx="29">
                    <c:v>Q1</c:v>
                  </c:pt>
                  <c:pt idx="30">
                    <c:v>Q2</c:v>
                  </c:pt>
                  <c:pt idx="31">
                    <c:v>Q3</c:v>
                  </c:pt>
                  <c:pt idx="32">
                    <c:v>Q4</c:v>
                  </c:pt>
                  <c:pt idx="33">
                    <c:v>Q1</c:v>
                  </c:pt>
                  <c:pt idx="34">
                    <c:v>Q2</c:v>
                  </c:pt>
                  <c:pt idx="35">
                    <c:v>Q3</c:v>
                  </c:pt>
                  <c:pt idx="36">
                    <c:v>Q4</c:v>
                  </c:pt>
                  <c:pt idx="37">
                    <c:v>Q1</c:v>
                  </c:pt>
                  <c:pt idx="38">
                    <c:v>Q2</c:v>
                  </c:pt>
                  <c:pt idx="39">
                    <c:v>Q3</c:v>
                  </c:pt>
                  <c:pt idx="40">
                    <c:v>Q4</c:v>
                  </c:pt>
                  <c:pt idx="41">
                    <c:v>Q1</c:v>
                  </c:pt>
                  <c:pt idx="42">
                    <c:v>Q2</c:v>
                  </c:pt>
                  <c:pt idx="43">
                    <c:v>Q3</c:v>
                  </c:pt>
                  <c:pt idx="44">
                    <c:v>Q4</c:v>
                  </c:pt>
                  <c:pt idx="45">
                    <c:v>Q1</c:v>
                  </c:pt>
                </c:lvl>
                <c:lvl>
                  <c:pt idx="1">
                    <c:v>2015</c:v>
                  </c:pt>
                  <c:pt idx="5">
                    <c:v>2016</c:v>
                  </c:pt>
                  <c:pt idx="9">
                    <c:v>2017</c:v>
                  </c:pt>
                  <c:pt idx="13">
                    <c:v>2018</c:v>
                  </c:pt>
                  <c:pt idx="17">
                    <c:v>2019</c:v>
                  </c:pt>
                  <c:pt idx="21">
                    <c:v>2020</c:v>
                  </c:pt>
                  <c:pt idx="25">
                    <c:v>2021</c:v>
                  </c:pt>
                  <c:pt idx="29">
                    <c:v>2022</c:v>
                  </c:pt>
                  <c:pt idx="33">
                    <c:v>2023</c:v>
                  </c:pt>
                  <c:pt idx="37">
                    <c:v>2024</c:v>
                  </c:pt>
                  <c:pt idx="41">
                    <c:v>2025</c:v>
                  </c:pt>
                  <c:pt idx="45">
                    <c:v>2026</c:v>
                  </c:pt>
                </c:lvl>
              </c:multiLvlStrCache>
            </c:multiLvlStrRef>
          </c:cat>
          <c:val>
            <c:numRef>
              <c:f>'T7-6'!$E$10:$AX$10</c:f>
              <c:numCache>
                <c:formatCode>General</c:formatCode>
                <c:ptCount val="46"/>
                <c:pt idx="0">
                  <c:v>-157</c:v>
                </c:pt>
                <c:pt idx="1">
                  <c:v>-15</c:v>
                </c:pt>
                <c:pt idx="2">
                  <c:v>-22.9</c:v>
                </c:pt>
                <c:pt idx="3">
                  <c:v>-0.7</c:v>
                </c:pt>
                <c:pt idx="4">
                  <c:v>-63.2</c:v>
                </c:pt>
                <c:pt idx="5">
                  <c:v>-178.19069999999999</c:v>
                </c:pt>
                <c:pt idx="6">
                  <c:v>-57.1</c:v>
                </c:pt>
                <c:pt idx="7">
                  <c:v>93</c:v>
                </c:pt>
                <c:pt idx="8" formatCode="#,##0">
                  <c:v>-182</c:v>
                </c:pt>
                <c:pt idx="9">
                  <c:v>-6.63</c:v>
                </c:pt>
                <c:pt idx="10">
                  <c:v>-55</c:v>
                </c:pt>
                <c:pt idx="11">
                  <c:v>15.72</c:v>
                </c:pt>
                <c:pt idx="12">
                  <c:v>-12.35</c:v>
                </c:pt>
                <c:pt idx="13">
                  <c:v>-33.54</c:v>
                </c:pt>
                <c:pt idx="14">
                  <c:v>209.83</c:v>
                </c:pt>
                <c:pt idx="15">
                  <c:v>30.28</c:v>
                </c:pt>
                <c:pt idx="16">
                  <c:v>303.03699999999998</c:v>
                </c:pt>
                <c:pt idx="17">
                  <c:v>190.27139349999999</c:v>
                </c:pt>
                <c:pt idx="18">
                  <c:v>36.617735690000004</c:v>
                </c:pt>
                <c:pt idx="19">
                  <c:v>233.13462606540801</c:v>
                </c:pt>
                <c:pt idx="20">
                  <c:v>68.128605109803289</c:v>
                </c:pt>
                <c:pt idx="21">
                  <c:v>98.68442971808301</c:v>
                </c:pt>
                <c:pt idx="22">
                  <c:v>71.495067016913907</c:v>
                </c:pt>
                <c:pt idx="23">
                  <c:v>106.639341702229</c:v>
                </c:pt>
                <c:pt idx="24">
                  <c:v>-9.6002411499999987</c:v>
                </c:pt>
                <c:pt idx="25">
                  <c:v>-3.8933043528824083</c:v>
                </c:pt>
                <c:pt idx="26">
                  <c:v>8.8895804078503211</c:v>
                </c:pt>
                <c:pt idx="27">
                  <c:v>80.236250927383693</c:v>
                </c:pt>
                <c:pt idx="28" formatCode="#,##0">
                  <c:v>58.678182096858592</c:v>
                </c:pt>
                <c:pt idx="29">
                  <c:v>187.7</c:v>
                </c:pt>
                <c:pt idx="30">
                  <c:v>89.699999999999989</c:v>
                </c:pt>
                <c:pt idx="31">
                  <c:v>138.6</c:v>
                </c:pt>
                <c:pt idx="32" formatCode="#,##0">
                  <c:v>256.33451220010357</c:v>
                </c:pt>
                <c:pt idx="33">
                  <c:v>70.900000000000006</c:v>
                </c:pt>
                <c:pt idx="34" formatCode="#,##0">
                  <c:v>272.16895457975795</c:v>
                </c:pt>
                <c:pt idx="35">
                  <c:v>113.10000000000001</c:v>
                </c:pt>
                <c:pt idx="36">
                  <c:v>201.43759999</c:v>
                </c:pt>
                <c:pt idx="37">
                  <c:v>382.83842044302901</c:v>
                </c:pt>
                <c:pt idx="38">
                  <c:v>419.31200132087599</c:v>
                </c:pt>
                <c:pt idx="39">
                  <c:v>148.45960362299201</c:v>
                </c:pt>
                <c:pt idx="40">
                  <c:v>-263.61730445580002</c:v>
                </c:pt>
                <c:pt idx="41">
                  <c:v>404.28148162926698</c:v>
                </c:pt>
                <c:pt idx="42">
                  <c:v>723.21617129247397</c:v>
                </c:pt>
                <c:pt idx="43">
                  <c:v>228.63736061959798</c:v>
                </c:pt>
                <c:pt idx="44">
                  <c:v>187.33106266933601</c:v>
                </c:pt>
                <c:pt idx="45" formatCode="#,##0">
                  <c:v>245.9901473506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8F3-D54D-AA7B-3435C02DEA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100"/>
        <c:axId val="-99583424"/>
        <c:axId val="-99574176"/>
      </c:barChart>
      <c:scatterChart>
        <c:scatterStyle val="lineMarker"/>
        <c:varyColors val="0"/>
        <c:ser>
          <c:idx val="0"/>
          <c:order val="0"/>
          <c:tx>
            <c:strRef>
              <c:f>'T7-6'!$A$6</c:f>
              <c:strCache>
                <c:ptCount val="1"/>
                <c:pt idx="0">
                  <c:v>Ukupno krediti stanovnistvu i privredi1)</c:v>
                </c:pt>
              </c:strCache>
            </c:strRef>
          </c:tx>
          <c:spPr>
            <a:ln w="28575">
              <a:noFill/>
            </a:ln>
          </c:spPr>
          <c:marker>
            <c:spPr>
              <a:solidFill>
                <a:schemeClr val="tx1">
                  <a:lumMod val="95000"/>
                  <a:lumOff val="5000"/>
                </a:schemeClr>
              </a:solidFill>
              <a:ln>
                <a:solidFill>
                  <a:schemeClr val="tx1"/>
                </a:solidFill>
              </a:ln>
            </c:spPr>
          </c:marker>
          <c:xVal>
            <c:multiLvlStrRef>
              <c:f>'[Copy of Monetarna - tabele i grafikoni QM84.xls]T7-6'!$E$2:$AX$3</c:f>
              <c:multiLvlStrCache>
                <c:ptCount val="46"/>
                <c:lvl>
                  <c:pt idx="0">
                    <c:v>Q4</c:v>
                  </c:pt>
                  <c:pt idx="1">
                    <c:v>Q1</c:v>
                  </c:pt>
                  <c:pt idx="2">
                    <c:v>Q2</c:v>
                  </c:pt>
                  <c:pt idx="3">
                    <c:v>Q3</c:v>
                  </c:pt>
                  <c:pt idx="4">
                    <c:v>Q4</c:v>
                  </c:pt>
                  <c:pt idx="5">
                    <c:v>Q1</c:v>
                  </c:pt>
                  <c:pt idx="6">
                    <c:v>Q2</c:v>
                  </c:pt>
                  <c:pt idx="7">
                    <c:v>Q3</c:v>
                  </c:pt>
                  <c:pt idx="8">
                    <c:v>Q4</c:v>
                  </c:pt>
                  <c:pt idx="9">
                    <c:v>Q1</c:v>
                  </c:pt>
                  <c:pt idx="10">
                    <c:v>Q2</c:v>
                  </c:pt>
                  <c:pt idx="11">
                    <c:v>Q3</c:v>
                  </c:pt>
                  <c:pt idx="12">
                    <c:v>Q4</c:v>
                  </c:pt>
                  <c:pt idx="13">
                    <c:v>Q1</c:v>
                  </c:pt>
                  <c:pt idx="14">
                    <c:v>Q2</c:v>
                  </c:pt>
                  <c:pt idx="15">
                    <c:v>Q3</c:v>
                  </c:pt>
                  <c:pt idx="16">
                    <c:v>Q4</c:v>
                  </c:pt>
                  <c:pt idx="17">
                    <c:v>Q1</c:v>
                  </c:pt>
                  <c:pt idx="18">
                    <c:v>Q2</c:v>
                  </c:pt>
                  <c:pt idx="19">
                    <c:v>Q3</c:v>
                  </c:pt>
                  <c:pt idx="20">
                    <c:v>Q4</c:v>
                  </c:pt>
                  <c:pt idx="21">
                    <c:v>Q1</c:v>
                  </c:pt>
                  <c:pt idx="22">
                    <c:v>Q2</c:v>
                  </c:pt>
                  <c:pt idx="23">
                    <c:v>Q3</c:v>
                  </c:pt>
                  <c:pt idx="24">
                    <c:v>Q4</c:v>
                  </c:pt>
                  <c:pt idx="25">
                    <c:v>Q1</c:v>
                  </c:pt>
                  <c:pt idx="26">
                    <c:v>Q2</c:v>
                  </c:pt>
                  <c:pt idx="27">
                    <c:v>Q3</c:v>
                  </c:pt>
                  <c:pt idx="28">
                    <c:v>Q4</c:v>
                  </c:pt>
                  <c:pt idx="29">
                    <c:v>Q1</c:v>
                  </c:pt>
                  <c:pt idx="30">
                    <c:v>Q2</c:v>
                  </c:pt>
                  <c:pt idx="31">
                    <c:v>Q3</c:v>
                  </c:pt>
                  <c:pt idx="32">
                    <c:v>Q4</c:v>
                  </c:pt>
                  <c:pt idx="33">
                    <c:v>Q1</c:v>
                  </c:pt>
                  <c:pt idx="34">
                    <c:v>Q2</c:v>
                  </c:pt>
                  <c:pt idx="35">
                    <c:v>Q3</c:v>
                  </c:pt>
                  <c:pt idx="36">
                    <c:v>Q4</c:v>
                  </c:pt>
                  <c:pt idx="37">
                    <c:v>Q1</c:v>
                  </c:pt>
                  <c:pt idx="38">
                    <c:v>Q2</c:v>
                  </c:pt>
                  <c:pt idx="39">
                    <c:v>Q3</c:v>
                  </c:pt>
                  <c:pt idx="40">
                    <c:v>Q4</c:v>
                  </c:pt>
                  <c:pt idx="41">
                    <c:v>Q1</c:v>
                  </c:pt>
                  <c:pt idx="42">
                    <c:v>Q2</c:v>
                  </c:pt>
                  <c:pt idx="43">
                    <c:v>Q3</c:v>
                  </c:pt>
                  <c:pt idx="44">
                    <c:v>Q4</c:v>
                  </c:pt>
                  <c:pt idx="45">
                    <c:v>Q1</c:v>
                  </c:pt>
                </c:lvl>
                <c:lvl>
                  <c:pt idx="1">
                    <c:v>2015</c:v>
                  </c:pt>
                  <c:pt idx="5">
                    <c:v>2016</c:v>
                  </c:pt>
                  <c:pt idx="9">
                    <c:v>2017</c:v>
                  </c:pt>
                  <c:pt idx="13">
                    <c:v>2018</c:v>
                  </c:pt>
                  <c:pt idx="17">
                    <c:v>2019</c:v>
                  </c:pt>
                  <c:pt idx="21">
                    <c:v>2020</c:v>
                  </c:pt>
                  <c:pt idx="25">
                    <c:v>2021</c:v>
                  </c:pt>
                  <c:pt idx="29">
                    <c:v>2022</c:v>
                  </c:pt>
                  <c:pt idx="33">
                    <c:v>2023</c:v>
                  </c:pt>
                  <c:pt idx="37">
                    <c:v>2024</c:v>
                  </c:pt>
                  <c:pt idx="41">
                    <c:v>2025</c:v>
                  </c:pt>
                  <c:pt idx="45">
                    <c:v>2026</c:v>
                  </c:pt>
                </c:lvl>
              </c:multiLvlStrCache>
            </c:multiLvlStrRef>
          </c:xVal>
          <c:yVal>
            <c:numRef>
              <c:f>'T7-6'!$E$6:$AX$6</c:f>
              <c:numCache>
                <c:formatCode>General</c:formatCode>
                <c:ptCount val="46"/>
                <c:pt idx="0">
                  <c:v>-140</c:v>
                </c:pt>
                <c:pt idx="1">
                  <c:v>9</c:v>
                </c:pt>
                <c:pt idx="2">
                  <c:v>-67.926071265792189</c:v>
                </c:pt>
                <c:pt idx="3">
                  <c:v>184.83215733320006</c:v>
                </c:pt>
                <c:pt idx="4">
                  <c:v>174.78799574097644</c:v>
                </c:pt>
                <c:pt idx="5">
                  <c:v>-494.66977006738341</c:v>
                </c:pt>
                <c:pt idx="6">
                  <c:v>291.17365969641594</c:v>
                </c:pt>
                <c:pt idx="7">
                  <c:v>390.14610999820206</c:v>
                </c:pt>
                <c:pt idx="8">
                  <c:v>-283.82289571020488</c:v>
                </c:pt>
                <c:pt idx="9">
                  <c:v>54.453751179588174</c:v>
                </c:pt>
                <c:pt idx="10">
                  <c:v>357.85404483045414</c:v>
                </c:pt>
                <c:pt idx="11">
                  <c:v>281.42328815750489</c:v>
                </c:pt>
                <c:pt idx="12">
                  <c:v>216.64167852988587</c:v>
                </c:pt>
                <c:pt idx="13">
                  <c:v>71.042018504956559</c:v>
                </c:pt>
                <c:pt idx="14">
                  <c:v>687.41801419370643</c:v>
                </c:pt>
                <c:pt idx="15">
                  <c:v>388.7312219867049</c:v>
                </c:pt>
                <c:pt idx="16">
                  <c:v>1057.6215690598433</c:v>
                </c:pt>
                <c:pt idx="17">
                  <c:v>364.42866927548209</c:v>
                </c:pt>
                <c:pt idx="18">
                  <c:v>406.7358762186339</c:v>
                </c:pt>
                <c:pt idx="19">
                  <c:v>870.98032182556028</c:v>
                </c:pt>
                <c:pt idx="20">
                  <c:v>689.27296091135509</c:v>
                </c:pt>
                <c:pt idx="21">
                  <c:v>700.84441134611984</c:v>
                </c:pt>
                <c:pt idx="22">
                  <c:v>876.08521389076668</c:v>
                </c:pt>
                <c:pt idx="23">
                  <c:v>848.82419095494822</c:v>
                </c:pt>
                <c:pt idx="24">
                  <c:v>55.551473800769514</c:v>
                </c:pt>
                <c:pt idx="25">
                  <c:v>220.93175846034944</c:v>
                </c:pt>
                <c:pt idx="26" formatCode="#,##0">
                  <c:v>568.29020587441039</c:v>
                </c:pt>
                <c:pt idx="27" formatCode="#,##0">
                  <c:v>787.38989136141868</c:v>
                </c:pt>
                <c:pt idx="28" formatCode="#,##0">
                  <c:v>874.24684126854982</c:v>
                </c:pt>
                <c:pt idx="29" formatCode="#,##0">
                  <c:v>850.51706716466765</c:v>
                </c:pt>
                <c:pt idx="30">
                  <c:v>1010.367514525765</c:v>
                </c:pt>
                <c:pt idx="31">
                  <c:v>591.26568304568866</c:v>
                </c:pt>
                <c:pt idx="32" formatCode="#,##0">
                  <c:v>4.9210182208142328</c:v>
                </c:pt>
                <c:pt idx="33">
                  <c:v>-104.78658960326683</c:v>
                </c:pt>
                <c:pt idx="34">
                  <c:v>423.3884085854769</c:v>
                </c:pt>
                <c:pt idx="35">
                  <c:v>306.7071147335497</c:v>
                </c:pt>
                <c:pt idx="36">
                  <c:v>355.98103162309201</c:v>
                </c:pt>
                <c:pt idx="37">
                  <c:v>305.27399894927476</c:v>
                </c:pt>
                <c:pt idx="38">
                  <c:v>1523.8446599751828</c:v>
                </c:pt>
                <c:pt idx="39">
                  <c:v>860.38727286887502</c:v>
                </c:pt>
                <c:pt idx="40">
                  <c:v>385.99198992742635</c:v>
                </c:pt>
                <c:pt idx="41">
                  <c:v>615.33685283918419</c:v>
                </c:pt>
                <c:pt idx="42">
                  <c:v>2146.5371814333962</c:v>
                </c:pt>
                <c:pt idx="43">
                  <c:v>1536.6847520242031</c:v>
                </c:pt>
                <c:pt idx="44">
                  <c:v>1655.9394908208192</c:v>
                </c:pt>
                <c:pt idx="45">
                  <c:v>955.64266919472254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B8F3-D54D-AA7B-3435C02DEA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99583424"/>
        <c:axId val="-99574176"/>
      </c:scatterChart>
      <c:catAx>
        <c:axId val="-99583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4176"/>
        <c:crosses val="autoZero"/>
        <c:auto val="1"/>
        <c:lblAlgn val="ctr"/>
        <c:lblOffset val="100"/>
        <c:noMultiLvlLbl val="0"/>
      </c:catAx>
      <c:valAx>
        <c:axId val="-99574176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sr-Latn-RS" noProof="0" dirty="0"/>
                  <a:t>u milionima evra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834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68828571428571417"/>
          <c:w val="1"/>
          <c:h val="5.3674044614946063E-2"/>
        </c:manualLayout>
      </c:layout>
      <c:overlay val="0"/>
      <c:txPr>
        <a:bodyPr/>
        <a:lstStyle/>
        <a:p>
          <a:pPr>
            <a:defRPr sz="7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257270335369231E-2"/>
          <c:y val="0.10328674226726443"/>
          <c:w val="0.91652213461141807"/>
          <c:h val="0.71353162328712194"/>
        </c:manualLayout>
      </c:layout>
      <c:lineChart>
        <c:grouping val="standard"/>
        <c:varyColors val="0"/>
        <c:ser>
          <c:idx val="0"/>
          <c:order val="0"/>
          <c:tx>
            <c:strRef>
              <c:f>'T7-4'!$A$5</c:f>
              <c:strCache>
                <c:ptCount val="1"/>
                <c:pt idx="0">
                  <c:v>M2/BDP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multiLvlStrRef>
              <c:f>'T7-4'!$B$3:$AV$4</c:f>
              <c:multiLvlStrCache>
                <c:ptCount val="47"/>
                <c:lvl>
                  <c:pt idx="0">
                    <c:v>Q3</c:v>
                  </c:pt>
                  <c:pt idx="1">
                    <c:v>Q4</c:v>
                  </c:pt>
                  <c:pt idx="2">
                    <c:v>Q1</c:v>
                  </c:pt>
                  <c:pt idx="3">
                    <c:v>Q2</c:v>
                  </c:pt>
                  <c:pt idx="4">
                    <c:v>Q3</c:v>
                  </c:pt>
                  <c:pt idx="5">
                    <c:v>Q4</c:v>
                  </c:pt>
                  <c:pt idx="6">
                    <c:v>Q1</c:v>
                  </c:pt>
                  <c:pt idx="7">
                    <c:v>Q2</c:v>
                  </c:pt>
                  <c:pt idx="8">
                    <c:v>Q3</c:v>
                  </c:pt>
                  <c:pt idx="9">
                    <c:v>Q4</c:v>
                  </c:pt>
                  <c:pt idx="10">
                    <c:v>Q1</c:v>
                  </c:pt>
                  <c:pt idx="11">
                    <c:v>Q2</c:v>
                  </c:pt>
                  <c:pt idx="12">
                    <c:v>Q3</c:v>
                  </c:pt>
                  <c:pt idx="13">
                    <c:v>Q4</c:v>
                  </c:pt>
                  <c:pt idx="14">
                    <c:v>Q1</c:v>
                  </c:pt>
                  <c:pt idx="15">
                    <c:v>Q2</c:v>
                  </c:pt>
                  <c:pt idx="16">
                    <c:v>Q3</c:v>
                  </c:pt>
                  <c:pt idx="17">
                    <c:v>Q4</c:v>
                  </c:pt>
                  <c:pt idx="18">
                    <c:v>Q1</c:v>
                  </c:pt>
                  <c:pt idx="19">
                    <c:v>Q2</c:v>
                  </c:pt>
                  <c:pt idx="20">
                    <c:v>Q3</c:v>
                  </c:pt>
                  <c:pt idx="21">
                    <c:v>Q4</c:v>
                  </c:pt>
                  <c:pt idx="22">
                    <c:v>Q1</c:v>
                  </c:pt>
                  <c:pt idx="23">
                    <c:v>Q2</c:v>
                  </c:pt>
                  <c:pt idx="24">
                    <c:v>Q3</c:v>
                  </c:pt>
                  <c:pt idx="25">
                    <c:v>Q4</c:v>
                  </c:pt>
                  <c:pt idx="26">
                    <c:v>Q1</c:v>
                  </c:pt>
                  <c:pt idx="27">
                    <c:v>Q2</c:v>
                  </c:pt>
                  <c:pt idx="28">
                    <c:v>Q3</c:v>
                  </c:pt>
                  <c:pt idx="29">
                    <c:v>Q4</c:v>
                  </c:pt>
                  <c:pt idx="30">
                    <c:v>Q1</c:v>
                  </c:pt>
                  <c:pt idx="31">
                    <c:v>Q2</c:v>
                  </c:pt>
                  <c:pt idx="32">
                    <c:v>Q3</c:v>
                  </c:pt>
                  <c:pt idx="33">
                    <c:v>Q4</c:v>
                  </c:pt>
                  <c:pt idx="34">
                    <c:v>Q1</c:v>
                  </c:pt>
                  <c:pt idx="35">
                    <c:v>Q2</c:v>
                  </c:pt>
                  <c:pt idx="36">
                    <c:v>Q3</c:v>
                  </c:pt>
                  <c:pt idx="37">
                    <c:v>Q4</c:v>
                  </c:pt>
                  <c:pt idx="38">
                    <c:v>Q1</c:v>
                  </c:pt>
                  <c:pt idx="39">
                    <c:v>Q2</c:v>
                  </c:pt>
                  <c:pt idx="40">
                    <c:v>Q3</c:v>
                  </c:pt>
                  <c:pt idx="41">
                    <c:v>Q4</c:v>
                  </c:pt>
                  <c:pt idx="42">
                    <c:v>Q1</c:v>
                  </c:pt>
                  <c:pt idx="43">
                    <c:v>Q2</c:v>
                  </c:pt>
                  <c:pt idx="44">
                    <c:v>Q3</c:v>
                  </c:pt>
                  <c:pt idx="45">
                    <c:v>Q4</c:v>
                  </c:pt>
                  <c:pt idx="46">
                    <c:v>Q1</c:v>
                  </c:pt>
                </c:lvl>
                <c:lvl>
                  <c:pt idx="2">
                    <c:v>2015</c:v>
                  </c:pt>
                  <c:pt idx="6">
                    <c:v>2016</c:v>
                  </c:pt>
                  <c:pt idx="10">
                    <c:v>2017</c:v>
                  </c:pt>
                  <c:pt idx="14">
                    <c:v>2018</c:v>
                  </c:pt>
                  <c:pt idx="18">
                    <c:v>2019</c:v>
                  </c:pt>
                  <c:pt idx="22">
                    <c:v>2020</c:v>
                  </c:pt>
                  <c:pt idx="26">
                    <c:v>2021</c:v>
                  </c:pt>
                  <c:pt idx="30">
                    <c:v>2022</c:v>
                  </c:pt>
                  <c:pt idx="34">
                    <c:v>2023</c:v>
                  </c:pt>
                  <c:pt idx="38">
                    <c:v>2024</c:v>
                  </c:pt>
                  <c:pt idx="42">
                    <c:v>2025</c:v>
                  </c:pt>
                  <c:pt idx="46">
                    <c:v>2026</c:v>
                  </c:pt>
                </c:lvl>
              </c:multiLvlStrCache>
            </c:multiLvlStrRef>
          </c:cat>
          <c:val>
            <c:numRef>
              <c:f>'T7-4'!$B$5:$AV$5</c:f>
              <c:numCache>
                <c:formatCode>General</c:formatCode>
                <c:ptCount val="47"/>
                <c:pt idx="0">
                  <c:v>43.810418446770683</c:v>
                </c:pt>
                <c:pt idx="1">
                  <c:v>44.836469153922117</c:v>
                </c:pt>
                <c:pt idx="2">
                  <c:v>43.716937568525758</c:v>
                </c:pt>
                <c:pt idx="3">
                  <c:v>44.286736338268554</c:v>
                </c:pt>
                <c:pt idx="4">
                  <c:v>44.307946327582634</c:v>
                </c:pt>
                <c:pt idx="5">
                  <c:v>46.371762029926451</c:v>
                </c:pt>
                <c:pt idx="6">
                  <c:v>45.358401946106611</c:v>
                </c:pt>
                <c:pt idx="7">
                  <c:v>45.807894707378253</c:v>
                </c:pt>
                <c:pt idx="8">
                  <c:v>46.699991101393259</c:v>
                </c:pt>
                <c:pt idx="9">
                  <c:v>48.587217200532415</c:v>
                </c:pt>
                <c:pt idx="10">
                  <c:v>47.646185788585335</c:v>
                </c:pt>
                <c:pt idx="11">
                  <c:v>46.829557456026436</c:v>
                </c:pt>
                <c:pt idx="12">
                  <c:v>46.896851414367632</c:v>
                </c:pt>
                <c:pt idx="13">
                  <c:v>47.796159896146065</c:v>
                </c:pt>
                <c:pt idx="14">
                  <c:v>46.605988692420681</c:v>
                </c:pt>
                <c:pt idx="15">
                  <c:v>47.70739711367596</c:v>
                </c:pt>
                <c:pt idx="16">
                  <c:v>47.773145684335958</c:v>
                </c:pt>
                <c:pt idx="17">
                  <c:v>51.367784072340172</c:v>
                </c:pt>
                <c:pt idx="18">
                  <c:v>50.169936282184871</c:v>
                </c:pt>
                <c:pt idx="19">
                  <c:v>49.722022564829473</c:v>
                </c:pt>
                <c:pt idx="20">
                  <c:v>50.60217922959567</c:v>
                </c:pt>
                <c:pt idx="21">
                  <c:v>52.077150568056894</c:v>
                </c:pt>
                <c:pt idx="22">
                  <c:v>50.073580864420599</c:v>
                </c:pt>
                <c:pt idx="23">
                  <c:v>54.309674468891075</c:v>
                </c:pt>
                <c:pt idx="24">
                  <c:v>55.855812970708165</c:v>
                </c:pt>
                <c:pt idx="25">
                  <c:v>57.853292978031</c:v>
                </c:pt>
                <c:pt idx="26" formatCode="0.00">
                  <c:v>56.718078739020861</c:v>
                </c:pt>
                <c:pt idx="27" formatCode="0.00">
                  <c:v>56.551189375769752</c:v>
                </c:pt>
                <c:pt idx="28" formatCode="0.00">
                  <c:v>56.709220354083811</c:v>
                </c:pt>
                <c:pt idx="29">
                  <c:v>57.451877816285005</c:v>
                </c:pt>
                <c:pt idx="30">
                  <c:v>53.939844624257859</c:v>
                </c:pt>
                <c:pt idx="31">
                  <c:v>56.250595961848319</c:v>
                </c:pt>
                <c:pt idx="32">
                  <c:v>53.304642691933246</c:v>
                </c:pt>
                <c:pt idx="33">
                  <c:v>54.128959021599535</c:v>
                </c:pt>
                <c:pt idx="34">
                  <c:v>52.605231255035925</c:v>
                </c:pt>
                <c:pt idx="35">
                  <c:v>50.995791141542277</c:v>
                </c:pt>
                <c:pt idx="36" formatCode="0.00">
                  <c:v>50.868018196450983</c:v>
                </c:pt>
                <c:pt idx="37">
                  <c:v>51.579285327167703</c:v>
                </c:pt>
                <c:pt idx="38">
                  <c:v>50.414955234776336</c:v>
                </c:pt>
                <c:pt idx="39" formatCode="0.00">
                  <c:v>50.961615708745065</c:v>
                </c:pt>
                <c:pt idx="40">
                  <c:v>50.754314984496887</c:v>
                </c:pt>
                <c:pt idx="41">
                  <c:v>52.9630034142507</c:v>
                </c:pt>
                <c:pt idx="42">
                  <c:v>51.033402806175864</c:v>
                </c:pt>
                <c:pt idx="43">
                  <c:v>51.455662175778293</c:v>
                </c:pt>
                <c:pt idx="44">
                  <c:v>52.235903724672298</c:v>
                </c:pt>
                <c:pt idx="45">
                  <c:v>52.988794679077657</c:v>
                </c:pt>
                <c:pt idx="46">
                  <c:v>52.33814007977488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0FE2-F04D-B9C4-14CAE71601D4}"/>
            </c:ext>
          </c:extLst>
        </c:ser>
        <c:ser>
          <c:idx val="1"/>
          <c:order val="1"/>
          <c:tx>
            <c:v>Dinarski M2/BDP</c:v>
          </c:tx>
          <c:spPr>
            <a:ln>
              <a:solidFill>
                <a:srgbClr val="FF3300"/>
              </a:solidFill>
            </a:ln>
          </c:spPr>
          <c:marker>
            <c:symbol val="none"/>
          </c:marker>
          <c:cat>
            <c:multiLvlStrRef>
              <c:f>'T7-4'!$B$3:$AV$4</c:f>
              <c:multiLvlStrCache>
                <c:ptCount val="47"/>
                <c:lvl>
                  <c:pt idx="0">
                    <c:v>Q3</c:v>
                  </c:pt>
                  <c:pt idx="1">
                    <c:v>Q4</c:v>
                  </c:pt>
                  <c:pt idx="2">
                    <c:v>Q1</c:v>
                  </c:pt>
                  <c:pt idx="3">
                    <c:v>Q2</c:v>
                  </c:pt>
                  <c:pt idx="4">
                    <c:v>Q3</c:v>
                  </c:pt>
                  <c:pt idx="5">
                    <c:v>Q4</c:v>
                  </c:pt>
                  <c:pt idx="6">
                    <c:v>Q1</c:v>
                  </c:pt>
                  <c:pt idx="7">
                    <c:v>Q2</c:v>
                  </c:pt>
                  <c:pt idx="8">
                    <c:v>Q3</c:v>
                  </c:pt>
                  <c:pt idx="9">
                    <c:v>Q4</c:v>
                  </c:pt>
                  <c:pt idx="10">
                    <c:v>Q1</c:v>
                  </c:pt>
                  <c:pt idx="11">
                    <c:v>Q2</c:v>
                  </c:pt>
                  <c:pt idx="12">
                    <c:v>Q3</c:v>
                  </c:pt>
                  <c:pt idx="13">
                    <c:v>Q4</c:v>
                  </c:pt>
                  <c:pt idx="14">
                    <c:v>Q1</c:v>
                  </c:pt>
                  <c:pt idx="15">
                    <c:v>Q2</c:v>
                  </c:pt>
                  <c:pt idx="16">
                    <c:v>Q3</c:v>
                  </c:pt>
                  <c:pt idx="17">
                    <c:v>Q4</c:v>
                  </c:pt>
                  <c:pt idx="18">
                    <c:v>Q1</c:v>
                  </c:pt>
                  <c:pt idx="19">
                    <c:v>Q2</c:v>
                  </c:pt>
                  <c:pt idx="20">
                    <c:v>Q3</c:v>
                  </c:pt>
                  <c:pt idx="21">
                    <c:v>Q4</c:v>
                  </c:pt>
                  <c:pt idx="22">
                    <c:v>Q1</c:v>
                  </c:pt>
                  <c:pt idx="23">
                    <c:v>Q2</c:v>
                  </c:pt>
                  <c:pt idx="24">
                    <c:v>Q3</c:v>
                  </c:pt>
                  <c:pt idx="25">
                    <c:v>Q4</c:v>
                  </c:pt>
                  <c:pt idx="26">
                    <c:v>Q1</c:v>
                  </c:pt>
                  <c:pt idx="27">
                    <c:v>Q2</c:v>
                  </c:pt>
                  <c:pt idx="28">
                    <c:v>Q3</c:v>
                  </c:pt>
                  <c:pt idx="29">
                    <c:v>Q4</c:v>
                  </c:pt>
                  <c:pt idx="30">
                    <c:v>Q1</c:v>
                  </c:pt>
                  <c:pt idx="31">
                    <c:v>Q2</c:v>
                  </c:pt>
                  <c:pt idx="32">
                    <c:v>Q3</c:v>
                  </c:pt>
                  <c:pt idx="33">
                    <c:v>Q4</c:v>
                  </c:pt>
                  <c:pt idx="34">
                    <c:v>Q1</c:v>
                  </c:pt>
                  <c:pt idx="35">
                    <c:v>Q2</c:v>
                  </c:pt>
                  <c:pt idx="36">
                    <c:v>Q3</c:v>
                  </c:pt>
                  <c:pt idx="37">
                    <c:v>Q4</c:v>
                  </c:pt>
                  <c:pt idx="38">
                    <c:v>Q1</c:v>
                  </c:pt>
                  <c:pt idx="39">
                    <c:v>Q2</c:v>
                  </c:pt>
                  <c:pt idx="40">
                    <c:v>Q3</c:v>
                  </c:pt>
                  <c:pt idx="41">
                    <c:v>Q4</c:v>
                  </c:pt>
                  <c:pt idx="42">
                    <c:v>Q1</c:v>
                  </c:pt>
                  <c:pt idx="43">
                    <c:v>Q2</c:v>
                  </c:pt>
                  <c:pt idx="44">
                    <c:v>Q3</c:v>
                  </c:pt>
                  <c:pt idx="45">
                    <c:v>Q4</c:v>
                  </c:pt>
                  <c:pt idx="46">
                    <c:v>Q1</c:v>
                  </c:pt>
                </c:lvl>
                <c:lvl>
                  <c:pt idx="2">
                    <c:v>2015</c:v>
                  </c:pt>
                  <c:pt idx="6">
                    <c:v>2016</c:v>
                  </c:pt>
                  <c:pt idx="10">
                    <c:v>2017</c:v>
                  </c:pt>
                  <c:pt idx="14">
                    <c:v>2018</c:v>
                  </c:pt>
                  <c:pt idx="18">
                    <c:v>2019</c:v>
                  </c:pt>
                  <c:pt idx="22">
                    <c:v>2020</c:v>
                  </c:pt>
                  <c:pt idx="26">
                    <c:v>2021</c:v>
                  </c:pt>
                  <c:pt idx="30">
                    <c:v>2022</c:v>
                  </c:pt>
                  <c:pt idx="34">
                    <c:v>2023</c:v>
                  </c:pt>
                  <c:pt idx="38">
                    <c:v>2024</c:v>
                  </c:pt>
                  <c:pt idx="42">
                    <c:v>2025</c:v>
                  </c:pt>
                  <c:pt idx="46">
                    <c:v>2026</c:v>
                  </c:pt>
                </c:lvl>
              </c:multiLvlStrCache>
            </c:multiLvlStrRef>
          </c:cat>
          <c:val>
            <c:numRef>
              <c:f>'T7-4'!$B$6:$AV$6</c:f>
              <c:numCache>
                <c:formatCode>General</c:formatCode>
                <c:ptCount val="47"/>
                <c:pt idx="0">
                  <c:v>14.145069459871435</c:v>
                </c:pt>
                <c:pt idx="1">
                  <c:v>14.763895067294493</c:v>
                </c:pt>
                <c:pt idx="2">
                  <c:v>13.523346683114754</c:v>
                </c:pt>
                <c:pt idx="3">
                  <c:v>14.052403171716254</c:v>
                </c:pt>
                <c:pt idx="4">
                  <c:v>14.795776747629997</c:v>
                </c:pt>
                <c:pt idx="5">
                  <c:v>16.293664387929791</c:v>
                </c:pt>
                <c:pt idx="6">
                  <c:v>14.791361546163859</c:v>
                </c:pt>
                <c:pt idx="7">
                  <c:v>15.509623597524854</c:v>
                </c:pt>
                <c:pt idx="8">
                  <c:v>16.270056597812861</c:v>
                </c:pt>
                <c:pt idx="9">
                  <c:v>17.871634456615642</c:v>
                </c:pt>
                <c:pt idx="10">
                  <c:v>16.867169622809143</c:v>
                </c:pt>
                <c:pt idx="11">
                  <c:v>16.919201486200468</c:v>
                </c:pt>
                <c:pt idx="12">
                  <c:v>17.195719453588623</c:v>
                </c:pt>
                <c:pt idx="13">
                  <c:v>18.316833664120722</c:v>
                </c:pt>
                <c:pt idx="14">
                  <c:v>17.331633888846977</c:v>
                </c:pt>
                <c:pt idx="15">
                  <c:v>18.164388345484603</c:v>
                </c:pt>
                <c:pt idx="16">
                  <c:v>18.362973626958041</c:v>
                </c:pt>
                <c:pt idx="17">
                  <c:v>20.063863852470494</c:v>
                </c:pt>
                <c:pt idx="18">
                  <c:v>18.891544398743953</c:v>
                </c:pt>
                <c:pt idx="19">
                  <c:v>19.647902789038003</c:v>
                </c:pt>
                <c:pt idx="20">
                  <c:v>20.488599708941859</c:v>
                </c:pt>
                <c:pt idx="21">
                  <c:v>21.885444901180616</c:v>
                </c:pt>
                <c:pt idx="22">
                  <c:v>21.257426886500532</c:v>
                </c:pt>
                <c:pt idx="23">
                  <c:v>24.553655061332012</c:v>
                </c:pt>
                <c:pt idx="24">
                  <c:v>25.490870577291684</c:v>
                </c:pt>
                <c:pt idx="25">
                  <c:v>26.956239836458344</c:v>
                </c:pt>
                <c:pt idx="26" formatCode="0.00">
                  <c:v>25.381390073475448</c:v>
                </c:pt>
                <c:pt idx="27" formatCode="0.00">
                  <c:v>25.733254530188752</c:v>
                </c:pt>
                <c:pt idx="28" formatCode="0.00">
                  <c:v>26.074958799762744</c:v>
                </c:pt>
                <c:pt idx="29">
                  <c:v>26.885510670884283</c:v>
                </c:pt>
                <c:pt idx="30">
                  <c:v>23.664508271201122</c:v>
                </c:pt>
                <c:pt idx="31">
                  <c:v>24.438141422948625</c:v>
                </c:pt>
                <c:pt idx="32">
                  <c:v>23.58485326025427</c:v>
                </c:pt>
                <c:pt idx="33">
                  <c:v>25.158790737331071</c:v>
                </c:pt>
                <c:pt idx="34">
                  <c:v>24.49294730749336</c:v>
                </c:pt>
                <c:pt idx="35">
                  <c:v>24.048269399377617</c:v>
                </c:pt>
                <c:pt idx="36">
                  <c:v>24.467712221307945</c:v>
                </c:pt>
                <c:pt idx="37">
                  <c:v>25.867769876055647</c:v>
                </c:pt>
                <c:pt idx="38">
                  <c:v>24.697900286464943</c:v>
                </c:pt>
                <c:pt idx="39" formatCode="0.00">
                  <c:v>25.277864360593959</c:v>
                </c:pt>
                <c:pt idx="40">
                  <c:v>25.183990220763715</c:v>
                </c:pt>
                <c:pt idx="41">
                  <c:v>27.547111725283457</c:v>
                </c:pt>
                <c:pt idx="42">
                  <c:v>25.586103584066265</c:v>
                </c:pt>
                <c:pt idx="43">
                  <c:v>26.085585828870773</c:v>
                </c:pt>
                <c:pt idx="44">
                  <c:v>26.895798060949083</c:v>
                </c:pt>
                <c:pt idx="45">
                  <c:v>27.669400485647383</c:v>
                </c:pt>
                <c:pt idx="46">
                  <c:v>26.25030745544639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0FE2-F04D-B9C4-14CAE71601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99572000"/>
        <c:axId val="-99578528"/>
      </c:lineChart>
      <c:catAx>
        <c:axId val="-99572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39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8528"/>
        <c:crosses val="autoZero"/>
        <c:auto val="1"/>
        <c:lblAlgn val="ctr"/>
        <c:lblOffset val="100"/>
        <c:noMultiLvlLbl val="0"/>
      </c:catAx>
      <c:valAx>
        <c:axId val="-99578528"/>
        <c:scaling>
          <c:orientation val="minMax"/>
          <c:min val="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sr-Latn-RS" noProof="0" dirty="0"/>
                  <a:t>u %</a:t>
                </a:r>
              </a:p>
            </c:rich>
          </c:tx>
          <c:layout>
            <c:manualLayout>
              <c:xMode val="edge"/>
              <c:yMode val="edge"/>
              <c:x val="1.0679558672187254E-2"/>
              <c:y val="0.39103024013115839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2000"/>
        <c:crosses val="autoZero"/>
        <c:crossBetween val="between"/>
        <c:majorUnit val="5"/>
      </c:valAx>
    </c:plotArea>
    <c:legend>
      <c:legendPos val="r"/>
      <c:layout>
        <c:manualLayout>
          <c:xMode val="edge"/>
          <c:yMode val="edge"/>
          <c:x val="0.18646188757655294"/>
          <c:y val="0.41215368912219308"/>
          <c:w val="0.74823080708661416"/>
          <c:h val="3.8769774519412888E-2"/>
        </c:manualLayout>
      </c:layout>
      <c:overlay val="0"/>
      <c:txPr>
        <a:bodyPr/>
        <a:lstStyle/>
        <a:p>
          <a:pPr>
            <a:defRPr sz="8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338264751858275E-2"/>
          <c:y val="5.0677063425324263E-2"/>
          <c:w val="0.88042179400941711"/>
          <c:h val="0.7516177757192114"/>
        </c:manualLayout>
      </c:layout>
      <c:lineChart>
        <c:grouping val="standard"/>
        <c:varyColors val="0"/>
        <c:ser>
          <c:idx val="3"/>
          <c:order val="0"/>
          <c:tx>
            <c:strRef>
              <c:f>'T7-11a'!$B$8</c:f>
              <c:strCache>
                <c:ptCount val="1"/>
                <c:pt idx="0">
                  <c:v>Dinarski krediti za obrtna sredstva*</c:v>
                </c:pt>
              </c:strCache>
            </c:strRef>
          </c:tx>
          <c:spPr>
            <a:ln w="28575" cap="rnd">
              <a:solidFill>
                <a:srgbClr val="FF3300"/>
              </a:solidFill>
              <a:round/>
            </a:ln>
            <a:effectLst/>
          </c:spPr>
          <c:marker>
            <c:symbol val="none"/>
          </c:marker>
          <c:cat>
            <c:multiLvlStrRef>
              <c:f>'T7-11a'!$C$3:$DB$4</c:f>
              <c:multiLvlStrCache>
                <c:ptCount val="4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11a'!$C$8:$DB$8</c:f>
              <c:numCache>
                <c:formatCode>General</c:formatCode>
                <c:ptCount val="41"/>
                <c:pt idx="0">
                  <c:v>5.52</c:v>
                </c:pt>
                <c:pt idx="1">
                  <c:v>5.62</c:v>
                </c:pt>
                <c:pt idx="2">
                  <c:v>5.23</c:v>
                </c:pt>
                <c:pt idx="3">
                  <c:v>3.33</c:v>
                </c:pt>
                <c:pt idx="4">
                  <c:v>1.7899999999999996</c:v>
                </c:pt>
                <c:pt idx="5">
                  <c:v>2.2799999999999998</c:v>
                </c:pt>
                <c:pt idx="6">
                  <c:v>2.34</c:v>
                </c:pt>
                <c:pt idx="7">
                  <c:v>1.3399999999999999</c:v>
                </c:pt>
                <c:pt idx="8">
                  <c:v>3.02</c:v>
                </c:pt>
                <c:pt idx="9">
                  <c:v>2.6100000000000003</c:v>
                </c:pt>
                <c:pt idx="10">
                  <c:v>2.77</c:v>
                </c:pt>
                <c:pt idx="11">
                  <c:v>3.9000000000000004</c:v>
                </c:pt>
                <c:pt idx="12">
                  <c:v>1.9699999999999998</c:v>
                </c:pt>
                <c:pt idx="13">
                  <c:v>3.4299999999999997</c:v>
                </c:pt>
                <c:pt idx="14">
                  <c:v>3.1999999999999997</c:v>
                </c:pt>
                <c:pt idx="15">
                  <c:v>2.5000000000000004</c:v>
                </c:pt>
                <c:pt idx="16">
                  <c:v>1.97</c:v>
                </c:pt>
                <c:pt idx="17">
                  <c:v>1.73</c:v>
                </c:pt>
                <c:pt idx="18">
                  <c:v>1.5999999999999999</c:v>
                </c:pt>
                <c:pt idx="19">
                  <c:v>2.0700000000000003</c:v>
                </c:pt>
                <c:pt idx="20">
                  <c:v>1.41</c:v>
                </c:pt>
                <c:pt idx="21">
                  <c:v>0</c:v>
                </c:pt>
                <c:pt idx="22">
                  <c:v>-2.31</c:v>
                </c:pt>
                <c:pt idx="23">
                  <c:v>-4.79</c:v>
                </c:pt>
                <c:pt idx="24">
                  <c:v>-5.25</c:v>
                </c:pt>
                <c:pt idx="25">
                  <c:v>-7.14</c:v>
                </c:pt>
                <c:pt idx="26">
                  <c:v>-7.95</c:v>
                </c:pt>
                <c:pt idx="27">
                  <c:v>-7.55</c:v>
                </c:pt>
                <c:pt idx="28">
                  <c:v>-7.85</c:v>
                </c:pt>
                <c:pt idx="29">
                  <c:v>-5.26</c:v>
                </c:pt>
                <c:pt idx="30">
                  <c:v>-1.33</c:v>
                </c:pt>
                <c:pt idx="31">
                  <c:v>0.65000000000000036</c:v>
                </c:pt>
                <c:pt idx="32">
                  <c:v>3.09</c:v>
                </c:pt>
                <c:pt idx="33">
                  <c:v>4.3999999999999995</c:v>
                </c:pt>
                <c:pt idx="34">
                  <c:v>2.8099999999999996</c:v>
                </c:pt>
                <c:pt idx="35">
                  <c:v>2.59</c:v>
                </c:pt>
                <c:pt idx="36">
                  <c:v>1.6399999999999997</c:v>
                </c:pt>
                <c:pt idx="37">
                  <c:v>1.62</c:v>
                </c:pt>
                <c:pt idx="38">
                  <c:v>3.31</c:v>
                </c:pt>
                <c:pt idx="39">
                  <c:v>3.37</c:v>
                </c:pt>
                <c:pt idx="40">
                  <c:v>3.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9DA-B248-A4D2-2EA33BFE5382}"/>
            </c:ext>
          </c:extLst>
        </c:ser>
        <c:ser>
          <c:idx val="4"/>
          <c:order val="1"/>
          <c:tx>
            <c:strRef>
              <c:f>'T7-11a'!$B$9</c:f>
              <c:strCache>
                <c:ptCount val="1"/>
                <c:pt idx="0">
                  <c:v>Dinarski krediti za investicije*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multiLvlStrRef>
              <c:f>'T7-11a'!$C$3:$DB$4</c:f>
              <c:multiLvlStrCache>
                <c:ptCount val="4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11a'!$C$9:$DB$9</c:f>
              <c:numCache>
                <c:formatCode>General</c:formatCode>
                <c:ptCount val="41"/>
                <c:pt idx="0">
                  <c:v>7.47</c:v>
                </c:pt>
                <c:pt idx="1">
                  <c:v>7.38</c:v>
                </c:pt>
                <c:pt idx="2">
                  <c:v>5.19</c:v>
                </c:pt>
                <c:pt idx="3">
                  <c:v>4.16</c:v>
                </c:pt>
                <c:pt idx="4">
                  <c:v>2.82</c:v>
                </c:pt>
                <c:pt idx="5">
                  <c:v>3.0900000000000003</c:v>
                </c:pt>
                <c:pt idx="6">
                  <c:v>2.4699999999999998</c:v>
                </c:pt>
                <c:pt idx="7">
                  <c:v>2.5099999999999998</c:v>
                </c:pt>
                <c:pt idx="8">
                  <c:v>5.5</c:v>
                </c:pt>
                <c:pt idx="9">
                  <c:v>3.5600000000000005</c:v>
                </c:pt>
                <c:pt idx="10">
                  <c:v>3.1699999999999995</c:v>
                </c:pt>
                <c:pt idx="11">
                  <c:v>4.21</c:v>
                </c:pt>
                <c:pt idx="12">
                  <c:v>2.96</c:v>
                </c:pt>
                <c:pt idx="13">
                  <c:v>4.22</c:v>
                </c:pt>
                <c:pt idx="14">
                  <c:v>3.7499999999999996</c:v>
                </c:pt>
                <c:pt idx="15">
                  <c:v>2.5000000000000004</c:v>
                </c:pt>
                <c:pt idx="16">
                  <c:v>3.2199999999999998</c:v>
                </c:pt>
                <c:pt idx="17">
                  <c:v>2.78</c:v>
                </c:pt>
                <c:pt idx="18">
                  <c:v>2.21</c:v>
                </c:pt>
                <c:pt idx="19">
                  <c:v>1.61</c:v>
                </c:pt>
                <c:pt idx="20">
                  <c:v>1.2899999999999998</c:v>
                </c:pt>
                <c:pt idx="21">
                  <c:v>1.1200000000000001</c:v>
                </c:pt>
                <c:pt idx="22">
                  <c:v>-1.02</c:v>
                </c:pt>
                <c:pt idx="23">
                  <c:v>-3.75</c:v>
                </c:pt>
                <c:pt idx="24">
                  <c:v>-4.0299999999999994</c:v>
                </c:pt>
                <c:pt idx="25">
                  <c:v>-5.98</c:v>
                </c:pt>
                <c:pt idx="26">
                  <c:v>-8</c:v>
                </c:pt>
                <c:pt idx="27">
                  <c:v>-7.5299999999999994</c:v>
                </c:pt>
                <c:pt idx="28">
                  <c:v>-7.9499999999999993</c:v>
                </c:pt>
                <c:pt idx="29">
                  <c:v>-4.6399999999999988</c:v>
                </c:pt>
                <c:pt idx="30">
                  <c:v>-1.17</c:v>
                </c:pt>
                <c:pt idx="31">
                  <c:v>1.8100000000000005</c:v>
                </c:pt>
                <c:pt idx="32">
                  <c:v>4.0600000000000005</c:v>
                </c:pt>
                <c:pt idx="33">
                  <c:v>3.3600000000000003</c:v>
                </c:pt>
                <c:pt idx="34">
                  <c:v>4.2299999999999995</c:v>
                </c:pt>
                <c:pt idx="35">
                  <c:v>2.5700000000000003</c:v>
                </c:pt>
                <c:pt idx="36">
                  <c:v>2.6099999999999994</c:v>
                </c:pt>
                <c:pt idx="37">
                  <c:v>2.8600000000000003</c:v>
                </c:pt>
                <c:pt idx="38">
                  <c:v>4.5299999999999994</c:v>
                </c:pt>
                <c:pt idx="39">
                  <c:v>4.54</c:v>
                </c:pt>
                <c:pt idx="40">
                  <c:v>6.010000000000000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9DA-B248-A4D2-2EA33BFE53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99584512"/>
        <c:axId val="-99583968"/>
      </c:lineChart>
      <c:catAx>
        <c:axId val="-9958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83968"/>
        <c:crosses val="autoZero"/>
        <c:auto val="1"/>
        <c:lblAlgn val="ctr"/>
        <c:lblOffset val="100"/>
        <c:noMultiLvlLbl val="0"/>
      </c:catAx>
      <c:valAx>
        <c:axId val="-99583968"/>
        <c:scaling>
          <c:orientation val="minMax"/>
          <c:max val="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sr-Latn-RS" noProof="0" dirty="0"/>
                  <a:t>u %</a:t>
                </a:r>
              </a:p>
            </c:rich>
          </c:tx>
          <c:layout>
            <c:manualLayout>
              <c:xMode val="edge"/>
              <c:yMode val="edge"/>
              <c:x val="1.8707389635628058E-2"/>
              <c:y val="0.37381443824376326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8451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9.1982617738820383E-2"/>
          <c:y val="0.69266050878255592"/>
          <c:w val="0.86804090526420064"/>
          <c:h val="5.5986442668735488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690" b="0" i="0" u="none" strike="noStrike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911143272696017E-2"/>
          <c:y val="3.1007751937984496E-2"/>
          <c:w val="0.89311156169173123"/>
          <c:h val="0.70582738204236117"/>
        </c:manualLayout>
      </c:layout>
      <c:lineChart>
        <c:grouping val="standard"/>
        <c:varyColors val="0"/>
        <c:ser>
          <c:idx val="0"/>
          <c:order val="0"/>
          <c:tx>
            <c:strRef>
              <c:f>'T7-11b'!$B$6</c:f>
              <c:strCache>
                <c:ptCount val="1"/>
                <c:pt idx="0">
                  <c:v>Indeksirani krediti za obrtna sredstva</c:v>
                </c:pt>
              </c:strCache>
            </c:strRef>
          </c:tx>
          <c:spPr>
            <a:ln w="28575" cap="rnd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multiLvlStrRef>
              <c:f>'T7-11b'!$C$3:$DB$4</c:f>
              <c:multiLvlStrCache>
                <c:ptCount val="4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11b'!$C$6:$DB$6</c:f>
              <c:numCache>
                <c:formatCode>General</c:formatCode>
                <c:ptCount val="41"/>
                <c:pt idx="0">
                  <c:v>4.46</c:v>
                </c:pt>
                <c:pt idx="1">
                  <c:v>3.48</c:v>
                </c:pt>
                <c:pt idx="2">
                  <c:v>3.24</c:v>
                </c:pt>
                <c:pt idx="3">
                  <c:v>3</c:v>
                </c:pt>
                <c:pt idx="4">
                  <c:v>2.85</c:v>
                </c:pt>
                <c:pt idx="5">
                  <c:v>2.96</c:v>
                </c:pt>
                <c:pt idx="6">
                  <c:v>2.94</c:v>
                </c:pt>
                <c:pt idx="7">
                  <c:v>2.6</c:v>
                </c:pt>
                <c:pt idx="8">
                  <c:v>2.84</c:v>
                </c:pt>
                <c:pt idx="9">
                  <c:v>2.64</c:v>
                </c:pt>
                <c:pt idx="10">
                  <c:v>2.6</c:v>
                </c:pt>
                <c:pt idx="11">
                  <c:v>2.4</c:v>
                </c:pt>
                <c:pt idx="12">
                  <c:v>2.69</c:v>
                </c:pt>
                <c:pt idx="13">
                  <c:v>2.8</c:v>
                </c:pt>
                <c:pt idx="14">
                  <c:v>2.68</c:v>
                </c:pt>
                <c:pt idx="15">
                  <c:v>2.65</c:v>
                </c:pt>
                <c:pt idx="16">
                  <c:v>2.4700000000000002</c:v>
                </c:pt>
                <c:pt idx="17">
                  <c:v>2.4</c:v>
                </c:pt>
                <c:pt idx="18">
                  <c:v>2.61</c:v>
                </c:pt>
                <c:pt idx="19">
                  <c:v>2.68</c:v>
                </c:pt>
                <c:pt idx="20">
                  <c:v>2.34</c:v>
                </c:pt>
                <c:pt idx="21">
                  <c:v>2.46</c:v>
                </c:pt>
                <c:pt idx="22">
                  <c:v>2.2200000000000002</c:v>
                </c:pt>
                <c:pt idx="23">
                  <c:v>2.36</c:v>
                </c:pt>
                <c:pt idx="24">
                  <c:v>2.11</c:v>
                </c:pt>
                <c:pt idx="25">
                  <c:v>2.58</c:v>
                </c:pt>
                <c:pt idx="26">
                  <c:v>4.04</c:v>
                </c:pt>
                <c:pt idx="27">
                  <c:v>5.17</c:v>
                </c:pt>
                <c:pt idx="28">
                  <c:v>6.14</c:v>
                </c:pt>
                <c:pt idx="29">
                  <c:v>6.48</c:v>
                </c:pt>
                <c:pt idx="30">
                  <c:v>6.96</c:v>
                </c:pt>
                <c:pt idx="31">
                  <c:v>6.96</c:v>
                </c:pt>
                <c:pt idx="32">
                  <c:v>6.74</c:v>
                </c:pt>
                <c:pt idx="33">
                  <c:v>6.55</c:v>
                </c:pt>
                <c:pt idx="34">
                  <c:v>6.06</c:v>
                </c:pt>
                <c:pt idx="35">
                  <c:v>5.41</c:v>
                </c:pt>
                <c:pt idx="36">
                  <c:v>5.19</c:v>
                </c:pt>
                <c:pt idx="37">
                  <c:v>4.5199999999999996</c:v>
                </c:pt>
                <c:pt idx="38">
                  <c:v>4.5</c:v>
                </c:pt>
                <c:pt idx="39">
                  <c:v>4.5</c:v>
                </c:pt>
                <c:pt idx="40">
                  <c:v>4.63999999999999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964-1D48-AE4D-F0465E635F08}"/>
            </c:ext>
          </c:extLst>
        </c:ser>
        <c:ser>
          <c:idx val="1"/>
          <c:order val="1"/>
          <c:tx>
            <c:strRef>
              <c:f>'T7-11b'!$B$7</c:f>
              <c:strCache>
                <c:ptCount val="1"/>
                <c:pt idx="0">
                  <c:v>Indeksirani krediti za investicje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multiLvlStrRef>
              <c:f>'T7-11b'!$C$3:$DB$4</c:f>
              <c:multiLvlStrCache>
                <c:ptCount val="4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11b'!$C$7:$DB$7</c:f>
              <c:numCache>
                <c:formatCode>General</c:formatCode>
                <c:ptCount val="41"/>
                <c:pt idx="0">
                  <c:v>4.2699999999999996</c:v>
                </c:pt>
                <c:pt idx="1">
                  <c:v>3.94</c:v>
                </c:pt>
                <c:pt idx="2">
                  <c:v>3.62</c:v>
                </c:pt>
                <c:pt idx="3">
                  <c:v>3.43</c:v>
                </c:pt>
                <c:pt idx="4">
                  <c:v>3.44</c:v>
                </c:pt>
                <c:pt idx="5">
                  <c:v>3.24</c:v>
                </c:pt>
                <c:pt idx="6">
                  <c:v>3.12</c:v>
                </c:pt>
                <c:pt idx="7">
                  <c:v>3.26</c:v>
                </c:pt>
                <c:pt idx="8">
                  <c:v>3.03</c:v>
                </c:pt>
                <c:pt idx="9">
                  <c:v>3.05</c:v>
                </c:pt>
                <c:pt idx="10">
                  <c:v>2.99</c:v>
                </c:pt>
                <c:pt idx="11">
                  <c:v>3.17</c:v>
                </c:pt>
                <c:pt idx="12">
                  <c:v>3.13</c:v>
                </c:pt>
                <c:pt idx="13">
                  <c:v>2.97</c:v>
                </c:pt>
                <c:pt idx="14">
                  <c:v>2.84</c:v>
                </c:pt>
                <c:pt idx="15">
                  <c:v>3.42</c:v>
                </c:pt>
                <c:pt idx="16">
                  <c:v>2.72</c:v>
                </c:pt>
                <c:pt idx="17">
                  <c:v>3.17</c:v>
                </c:pt>
                <c:pt idx="18">
                  <c:v>3.11</c:v>
                </c:pt>
                <c:pt idx="19">
                  <c:v>3.61</c:v>
                </c:pt>
                <c:pt idx="20">
                  <c:v>2.91</c:v>
                </c:pt>
                <c:pt idx="21">
                  <c:v>2.68</c:v>
                </c:pt>
                <c:pt idx="22">
                  <c:v>3.16</c:v>
                </c:pt>
                <c:pt idx="23">
                  <c:v>2.86</c:v>
                </c:pt>
                <c:pt idx="24">
                  <c:v>3.05</c:v>
                </c:pt>
                <c:pt idx="25">
                  <c:v>3.4</c:v>
                </c:pt>
                <c:pt idx="26">
                  <c:v>4.1399999999999997</c:v>
                </c:pt>
                <c:pt idx="27">
                  <c:v>5.16</c:v>
                </c:pt>
                <c:pt idx="28">
                  <c:v>6.36</c:v>
                </c:pt>
                <c:pt idx="29">
                  <c:v>6.88</c:v>
                </c:pt>
                <c:pt idx="30">
                  <c:v>7.05</c:v>
                </c:pt>
                <c:pt idx="31">
                  <c:v>7.31</c:v>
                </c:pt>
                <c:pt idx="32">
                  <c:v>7.3</c:v>
                </c:pt>
                <c:pt idx="33">
                  <c:v>6.85</c:v>
                </c:pt>
                <c:pt idx="34">
                  <c:v>6.43</c:v>
                </c:pt>
                <c:pt idx="35">
                  <c:v>5.67</c:v>
                </c:pt>
                <c:pt idx="36">
                  <c:v>5.51</c:v>
                </c:pt>
                <c:pt idx="37">
                  <c:v>5.52</c:v>
                </c:pt>
                <c:pt idx="38">
                  <c:v>5.29</c:v>
                </c:pt>
                <c:pt idx="39">
                  <c:v>5.0999999999999996</c:v>
                </c:pt>
                <c:pt idx="40">
                  <c:v>4.480000000000000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964-1D48-AE4D-F0465E635F08}"/>
            </c:ext>
          </c:extLst>
        </c:ser>
        <c:ser>
          <c:idx val="2"/>
          <c:order val="2"/>
          <c:tx>
            <c:strRef>
              <c:f>'T7-11b'!$B$5</c:f>
              <c:strCache>
                <c:ptCount val="1"/>
                <c:pt idx="0">
                  <c:v>Stambeni indeksirani</c:v>
                </c:pt>
              </c:strCache>
            </c:strRef>
          </c:tx>
          <c:spPr>
            <a:ln w="28575" cap="rnd">
              <a:solidFill>
                <a:srgbClr val="FF3300"/>
              </a:solidFill>
              <a:prstDash val="sysDot"/>
              <a:round/>
            </a:ln>
            <a:effectLst/>
          </c:spPr>
          <c:marker>
            <c:symbol val="none"/>
          </c:marker>
          <c:cat>
            <c:multiLvlStrRef>
              <c:f>'T7-11b'!$C$3:$DB$4</c:f>
              <c:multiLvlStrCache>
                <c:ptCount val="4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8">
                    <c:v>2018</c:v>
                  </c:pt>
                  <c:pt idx="12">
                    <c:v>2019</c:v>
                  </c:pt>
                  <c:pt idx="16">
                    <c:v>2020</c:v>
                  </c:pt>
                  <c:pt idx="20">
                    <c:v>2021</c:v>
                  </c:pt>
                  <c:pt idx="24">
                    <c:v>2022</c:v>
                  </c:pt>
                  <c:pt idx="28">
                    <c:v>2023</c:v>
                  </c:pt>
                  <c:pt idx="32">
                    <c:v>2024</c:v>
                  </c:pt>
                  <c:pt idx="36">
                    <c:v>2025</c:v>
                  </c:pt>
                  <c:pt idx="40">
                    <c:v>2026</c:v>
                  </c:pt>
                </c:lvl>
              </c:multiLvlStrCache>
            </c:multiLvlStrRef>
          </c:cat>
          <c:val>
            <c:numRef>
              <c:f>'T7-11b'!$C$5:$DB$5</c:f>
              <c:numCache>
                <c:formatCode>General</c:formatCode>
                <c:ptCount val="41"/>
                <c:pt idx="0">
                  <c:v>3.82</c:v>
                </c:pt>
                <c:pt idx="1">
                  <c:v>3.47</c:v>
                </c:pt>
                <c:pt idx="2">
                  <c:v>3.27</c:v>
                </c:pt>
                <c:pt idx="3">
                  <c:v>3.08</c:v>
                </c:pt>
                <c:pt idx="4">
                  <c:v>3.09</c:v>
                </c:pt>
                <c:pt idx="5">
                  <c:v>3</c:v>
                </c:pt>
                <c:pt idx="6">
                  <c:v>2.95</c:v>
                </c:pt>
                <c:pt idx="7">
                  <c:v>3</c:v>
                </c:pt>
                <c:pt idx="8">
                  <c:v>2.83</c:v>
                </c:pt>
                <c:pt idx="9">
                  <c:v>2.8</c:v>
                </c:pt>
                <c:pt idx="10">
                  <c:v>2.77</c:v>
                </c:pt>
                <c:pt idx="11">
                  <c:v>2.79</c:v>
                </c:pt>
                <c:pt idx="12">
                  <c:v>2.9</c:v>
                </c:pt>
                <c:pt idx="13">
                  <c:v>2.99</c:v>
                </c:pt>
                <c:pt idx="14">
                  <c:v>2.75</c:v>
                </c:pt>
                <c:pt idx="15">
                  <c:v>2.77</c:v>
                </c:pt>
                <c:pt idx="16">
                  <c:v>2.71</c:v>
                </c:pt>
                <c:pt idx="17">
                  <c:v>2.74</c:v>
                </c:pt>
                <c:pt idx="18">
                  <c:v>2.73</c:v>
                </c:pt>
                <c:pt idx="19">
                  <c:v>2.63</c:v>
                </c:pt>
                <c:pt idx="20">
                  <c:v>2.57</c:v>
                </c:pt>
                <c:pt idx="21">
                  <c:v>2.5</c:v>
                </c:pt>
                <c:pt idx="22">
                  <c:v>2.61</c:v>
                </c:pt>
                <c:pt idx="23">
                  <c:v>2.56</c:v>
                </c:pt>
                <c:pt idx="24">
                  <c:v>2.62</c:v>
                </c:pt>
                <c:pt idx="25">
                  <c:v>2.89</c:v>
                </c:pt>
                <c:pt idx="26">
                  <c:v>3.79</c:v>
                </c:pt>
                <c:pt idx="27">
                  <c:v>5.1100000000000003</c:v>
                </c:pt>
                <c:pt idx="28">
                  <c:v>6.1</c:v>
                </c:pt>
                <c:pt idx="29">
                  <c:v>6.65</c:v>
                </c:pt>
                <c:pt idx="30">
                  <c:v>6.41</c:v>
                </c:pt>
                <c:pt idx="31">
                  <c:v>4.99</c:v>
                </c:pt>
                <c:pt idx="32">
                  <c:v>5.0999999999999996</c:v>
                </c:pt>
                <c:pt idx="33">
                  <c:v>5.09</c:v>
                </c:pt>
                <c:pt idx="34">
                  <c:v>5.0599999999999996</c:v>
                </c:pt>
                <c:pt idx="35">
                  <c:v>4.9400000000000004</c:v>
                </c:pt>
                <c:pt idx="36">
                  <c:v>4.95</c:v>
                </c:pt>
                <c:pt idx="37">
                  <c:v>4.29</c:v>
                </c:pt>
                <c:pt idx="38">
                  <c:v>4.3899999999999997</c:v>
                </c:pt>
                <c:pt idx="39">
                  <c:v>4.4800000000000004</c:v>
                </c:pt>
                <c:pt idx="40">
                  <c:v>4.4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A964-1D48-AE4D-F0465E635F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99576896"/>
        <c:axId val="-99573632"/>
      </c:lineChart>
      <c:catAx>
        <c:axId val="-99576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3632"/>
        <c:crosses val="autoZero"/>
        <c:auto val="1"/>
        <c:lblAlgn val="ctr"/>
        <c:lblOffset val="100"/>
        <c:noMultiLvlLbl val="0"/>
      </c:catAx>
      <c:valAx>
        <c:axId val="-99573632"/>
        <c:scaling>
          <c:orientation val="minMax"/>
          <c:max val="8"/>
          <c:min val="-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sr-Latn-RS" noProof="0" dirty="0"/>
                  <a:t>u %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-9957689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6.9289899269848368E-2"/>
          <c:y val="0.59784038713910748"/>
          <c:w val="0.93071010073015159"/>
          <c:h val="0.12335222563584855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690" b="0" i="0" u="none" strike="noStrike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ruto dodata vrednost po delatnostima, u % </a:t>
            </a:r>
            <a:r>
              <a:rPr lang="sr-Latn-RS" sz="12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đugod</a:t>
            </a: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Tabela T2-2'!$Q$10:$Q$17</c:f>
              <c:strCache>
                <c:ptCount val="8"/>
                <c:pt idx="0">
                  <c:v>BDV</c:v>
                </c:pt>
                <c:pt idx="1">
                  <c:v>Poljoprivreda</c:v>
                </c:pt>
                <c:pt idx="2">
                  <c:v>Industrija</c:v>
                </c:pt>
                <c:pt idx="3">
                  <c:v>Građevinarstvo</c:v>
                </c:pt>
                <c:pt idx="4">
                  <c:v>Trg., saob.i turizam</c:v>
                </c:pt>
                <c:pt idx="5">
                  <c:v>Informisanje i komunikacije</c:v>
                </c:pt>
                <c:pt idx="6">
                  <c:v>Finan. delatnosti i osiguranje</c:v>
                </c:pt>
                <c:pt idx="7">
                  <c:v>Ostalo</c:v>
                </c:pt>
              </c:strCache>
            </c:strRef>
          </c:cat>
          <c:val>
            <c:numRef>
              <c:f>'Tabela T2-2'!$R$10:$R$17</c:f>
              <c:numCache>
                <c:formatCode>0.0</c:formatCode>
                <c:ptCount val="8"/>
                <c:pt idx="0">
                  <c:v>2.9421619010144155</c:v>
                </c:pt>
                <c:pt idx="1">
                  <c:v>7.1352290622115362</c:v>
                </c:pt>
                <c:pt idx="2">
                  <c:v>-0.6544596894352992</c:v>
                </c:pt>
                <c:pt idx="3">
                  <c:v>-5.0521156683475255</c:v>
                </c:pt>
                <c:pt idx="4">
                  <c:v>4.9160345124867888</c:v>
                </c:pt>
                <c:pt idx="5">
                  <c:v>3.5228833912765936</c:v>
                </c:pt>
                <c:pt idx="6">
                  <c:v>6.9322997719509516</c:v>
                </c:pt>
                <c:pt idx="7">
                  <c:v>4.15612361358368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EAF-8A4A-BE36-7F614FBAA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199536"/>
        <c:axId val="-188200080"/>
      </c:barChart>
      <c:catAx>
        <c:axId val="-188199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200080"/>
        <c:crosses val="autoZero"/>
        <c:auto val="1"/>
        <c:lblAlgn val="ctr"/>
        <c:lblOffset val="100"/>
        <c:noMultiLvlLbl val="0"/>
      </c:catAx>
      <c:valAx>
        <c:axId val="-188200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9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DP po delatnostima, u % </a:t>
            </a:r>
            <a:r>
              <a:rPr lang="sr-Latn-RS" sz="12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đugod</a:t>
            </a:r>
            <a:r>
              <a:rPr lang="sr-Latn-RS" noProof="0" dirty="0"/>
              <a:t>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Tabela T2-3'!$P$7:$P$12</c:f>
              <c:strCache>
                <c:ptCount val="6"/>
                <c:pt idx="0">
                  <c:v>BDP</c:v>
                </c:pt>
                <c:pt idx="1">
                  <c:v>Privatna potrošnja</c:v>
                </c:pt>
                <c:pt idx="2">
                  <c:v>Državna potrošnja</c:v>
                </c:pt>
                <c:pt idx="3">
                  <c:v>Investicije</c:v>
                </c:pt>
                <c:pt idx="4">
                  <c:v>Izvoz</c:v>
                </c:pt>
                <c:pt idx="5">
                  <c:v>Uvoz</c:v>
                </c:pt>
              </c:strCache>
            </c:strRef>
          </c:cat>
          <c:val>
            <c:numRef>
              <c:f>'Tabela T2-3'!$Q$7:$Q$12</c:f>
              <c:numCache>
                <c:formatCode>0.0</c:formatCode>
                <c:ptCount val="6"/>
                <c:pt idx="0">
                  <c:v>3.244253022018313</c:v>
                </c:pt>
                <c:pt idx="1">
                  <c:v>4.8609257821619707</c:v>
                </c:pt>
                <c:pt idx="2">
                  <c:v>5.1268229407315431</c:v>
                </c:pt>
                <c:pt idx="3">
                  <c:v>1.3666410891260767</c:v>
                </c:pt>
                <c:pt idx="4">
                  <c:v>4.6037182197566864</c:v>
                </c:pt>
                <c:pt idx="5">
                  <c:v>3.57657880401463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F67-844D-B505-0BC7AC25D3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198992"/>
        <c:axId val="-188191376"/>
      </c:barChart>
      <c:catAx>
        <c:axId val="-188198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1376"/>
        <c:crosses val="autoZero"/>
        <c:auto val="1"/>
        <c:lblAlgn val="ctr"/>
        <c:lblOffset val="100"/>
        <c:noMultiLvlLbl val="0"/>
      </c:catAx>
      <c:valAx>
        <c:axId val="-188191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8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dustrijska proizvodnja po delatnostima u Q1, u %, </a:t>
            </a:r>
            <a:r>
              <a:rPr lang="sr-Latn-RS" sz="12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đugod</a:t>
            </a:r>
            <a:endParaRPr lang="sr-Latn-RS" sz="12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Tabela T2-5'!$R$7:$R$10</c:f>
              <c:strCache>
                <c:ptCount val="4"/>
                <c:pt idx="0">
                  <c:v>Ukupno</c:v>
                </c:pt>
                <c:pt idx="1">
                  <c:v>Rudarstvo</c:v>
                </c:pt>
                <c:pt idx="2">
                  <c:v>Prerađivačka industrija</c:v>
                </c:pt>
                <c:pt idx="3">
                  <c:v>Snabdevanje el. energijom, gasom i klimatizacija </c:v>
                </c:pt>
              </c:strCache>
            </c:strRef>
          </c:cat>
          <c:val>
            <c:numRef>
              <c:f>'Tabela T2-5'!$S$7:$S$10</c:f>
              <c:numCache>
                <c:formatCode>0.0</c:formatCode>
                <c:ptCount val="4"/>
                <c:pt idx="0">
                  <c:v>-0.79999999999999716</c:v>
                </c:pt>
                <c:pt idx="1">
                  <c:v>-3.2000000000000028</c:v>
                </c:pt>
                <c:pt idx="2">
                  <c:v>-0.40000000000000568</c:v>
                </c:pt>
                <c:pt idx="3">
                  <c:v>-0.900000000000005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391-A54A-947B-DA1F48BEAA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202800"/>
        <c:axId val="-188201168"/>
      </c:barChart>
      <c:catAx>
        <c:axId val="-188202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201168"/>
        <c:crosses val="autoZero"/>
        <c:auto val="0"/>
        <c:lblAlgn val="ctr"/>
        <c:lblOffset val="100"/>
        <c:noMultiLvlLbl val="0"/>
      </c:catAx>
      <c:valAx>
        <c:axId val="-188201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202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dustrijska proizvodnja u Q1, u % </a:t>
            </a:r>
            <a:r>
              <a:rPr lang="sr-Latn-RS" sz="12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đugod</a:t>
            </a: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Tabela T2-7'!$O$5:$O$20</c:f>
              <c:strCache>
                <c:ptCount val="16"/>
                <c:pt idx="0">
                  <c:v>Letonija</c:v>
                </c:pt>
                <c:pt idx="1">
                  <c:v>Litvanija</c:v>
                </c:pt>
                <c:pt idx="2">
                  <c:v>Poljska</c:v>
                </c:pt>
                <c:pt idx="3">
                  <c:v>Češka</c:v>
                </c:pt>
                <c:pt idx="4">
                  <c:v>Mađarska</c:v>
                </c:pt>
                <c:pt idx="5">
                  <c:v>Estonija</c:v>
                </c:pt>
                <c:pt idx="6">
                  <c:v>CIE</c:v>
                </c:pt>
                <c:pt idx="7">
                  <c:v>Hrvatska</c:v>
                </c:pt>
                <c:pt idx="8">
                  <c:v>Slovačka</c:v>
                </c:pt>
                <c:pt idx="9">
                  <c:v>EU (27)</c:v>
                </c:pt>
                <c:pt idx="10">
                  <c:v>Srbija</c:v>
                </c:pt>
                <c:pt idx="11">
                  <c:v>Slovenija</c:v>
                </c:pt>
                <c:pt idx="12">
                  <c:v>S.Makedonija</c:v>
                </c:pt>
                <c:pt idx="13">
                  <c:v>Rumunija</c:v>
                </c:pt>
                <c:pt idx="14">
                  <c:v>Bugarska</c:v>
                </c:pt>
                <c:pt idx="15">
                  <c:v>BiH</c:v>
                </c:pt>
              </c:strCache>
            </c:strRef>
          </c:cat>
          <c:val>
            <c:numRef>
              <c:f>'Tabela T2-7'!$P$5:$P$20</c:f>
              <c:numCache>
                <c:formatCode>0.0</c:formatCode>
                <c:ptCount val="16"/>
                <c:pt idx="0">
                  <c:v>9.3000000000000007</c:v>
                </c:pt>
                <c:pt idx="1">
                  <c:v>4.3</c:v>
                </c:pt>
                <c:pt idx="2">
                  <c:v>1.7</c:v>
                </c:pt>
                <c:pt idx="3">
                  <c:v>1.6</c:v>
                </c:pt>
                <c:pt idx="4">
                  <c:v>0.7</c:v>
                </c:pt>
                <c:pt idx="5">
                  <c:v>0.6</c:v>
                </c:pt>
                <c:pt idx="6">
                  <c:v>0.42422028186594096</c:v>
                </c:pt>
                <c:pt idx="7">
                  <c:v>0.4</c:v>
                </c:pt>
                <c:pt idx="8">
                  <c:v>-0.4</c:v>
                </c:pt>
                <c:pt idx="9">
                  <c:v>-0.5</c:v>
                </c:pt>
                <c:pt idx="10">
                  <c:v>-0.79999999999999716</c:v>
                </c:pt>
                <c:pt idx="11">
                  <c:v>-1.4</c:v>
                </c:pt>
                <c:pt idx="12">
                  <c:v>-2.4</c:v>
                </c:pt>
                <c:pt idx="13">
                  <c:v>-2.5</c:v>
                </c:pt>
                <c:pt idx="14">
                  <c:v>-4.5999999999999996</c:v>
                </c:pt>
                <c:pt idx="15">
                  <c:v>-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E57-EE44-8305-BA88A11DB0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198448"/>
        <c:axId val="-188202256"/>
      </c:barChart>
      <c:catAx>
        <c:axId val="-18819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202256"/>
        <c:crosses val="autoZero"/>
        <c:auto val="1"/>
        <c:lblAlgn val="ctr"/>
        <c:lblOffset val="100"/>
        <c:noMultiLvlLbl val="0"/>
      </c:catAx>
      <c:valAx>
        <c:axId val="-188202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8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G3_1!$B$1</c:f>
              <c:strCache>
                <c:ptCount val="1"/>
                <c:pt idx="0">
                  <c:v>Stopa 
zaposlenosti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3_1!$A$2:$A$10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Q1 2026</c:v>
                </c:pt>
              </c:strCache>
            </c:strRef>
          </c:cat>
          <c:val>
            <c:numRef>
              <c:f>G3_1!$B$2:$B$10</c:f>
              <c:numCache>
                <c:formatCode>General</c:formatCode>
                <c:ptCount val="9"/>
                <c:pt idx="0">
                  <c:v>45.6</c:v>
                </c:pt>
                <c:pt idx="1">
                  <c:v>46.1</c:v>
                </c:pt>
                <c:pt idx="2">
                  <c:v>46.3</c:v>
                </c:pt>
                <c:pt idx="3">
                  <c:v>47.8</c:v>
                </c:pt>
                <c:pt idx="4">
                  <c:v>49.5</c:v>
                </c:pt>
                <c:pt idx="5">
                  <c:v>50.2</c:v>
                </c:pt>
                <c:pt idx="6">
                  <c:v>51.4</c:v>
                </c:pt>
                <c:pt idx="7">
                  <c:v>51.2</c:v>
                </c:pt>
                <c:pt idx="8">
                  <c:v>50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6B98-4A8D-AE64-087691C454AF}"/>
            </c:ext>
          </c:extLst>
        </c:ser>
        <c:ser>
          <c:idx val="1"/>
          <c:order val="1"/>
          <c:tx>
            <c:strRef>
              <c:f>G3_1!$C$1</c:f>
              <c:strCache>
                <c:ptCount val="1"/>
                <c:pt idx="0">
                  <c:v>Stopa 
nezaposlenosti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prstDash val="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3_1!$A$2:$A$10</c:f>
              <c:strCache>
                <c:ptCount val="9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Q1 2026</c:v>
                </c:pt>
              </c:strCache>
            </c:strRef>
          </c:cat>
          <c:val>
            <c:numRef>
              <c:f>G3_1!$C$2:$C$10</c:f>
              <c:numCache>
                <c:formatCode>General</c:formatCode>
                <c:ptCount val="9"/>
                <c:pt idx="0">
                  <c:v>13.7</c:v>
                </c:pt>
                <c:pt idx="1">
                  <c:v>11.3</c:v>
                </c:pt>
                <c:pt idx="2">
                  <c:v>9.6999999999999993</c:v>
                </c:pt>
                <c:pt idx="3">
                  <c:v>11.1</c:v>
                </c:pt>
                <c:pt idx="4">
                  <c:v>9.5</c:v>
                </c:pt>
                <c:pt idx="5">
                  <c:v>9.4</c:v>
                </c:pt>
                <c:pt idx="6">
                  <c:v>8.6</c:v>
                </c:pt>
                <c:pt idx="7">
                  <c:v>8.6999999999999993</c:v>
                </c:pt>
                <c:pt idx="8">
                  <c:v>8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6B98-4A8D-AE64-087691C45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88190832"/>
        <c:axId val="-188190288"/>
      </c:lineChart>
      <c:catAx>
        <c:axId val="-188190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0288"/>
        <c:crosses val="autoZero"/>
        <c:auto val="1"/>
        <c:lblAlgn val="ctr"/>
        <c:lblOffset val="100"/>
        <c:noMultiLvlLbl val="0"/>
      </c:catAx>
      <c:valAx>
        <c:axId val="-188190288"/>
        <c:scaling>
          <c:orientation val="minMax"/>
          <c:min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0832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noProof="0" dirty="0"/>
              <a:t>Stopa nezaposlenosti u evropskim zemljama, u 2025. godini u %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E64-E34E-99FA-199F1874C75A}"/>
              </c:ext>
            </c:extLst>
          </c:dPt>
          <c:cat>
            <c:strRef>
              <c:f>'Sheet 1'!$O$15:$O$49</c:f>
              <c:strCache>
                <c:ptCount val="35"/>
                <c:pt idx="0">
                  <c:v>EU</c:v>
                </c:pt>
                <c:pt idx="1">
                  <c:v>Czechia</c:v>
                </c:pt>
                <c:pt idx="2">
                  <c:v>Malta</c:v>
                </c:pt>
                <c:pt idx="3">
                  <c:v>Poland</c:v>
                </c:pt>
                <c:pt idx="4">
                  <c:v>Bulgaria</c:v>
                </c:pt>
                <c:pt idx="5">
                  <c:v>Germany</c:v>
                </c:pt>
                <c:pt idx="6">
                  <c:v>Netherlands</c:v>
                </c:pt>
                <c:pt idx="7">
                  <c:v>Slovenia</c:v>
                </c:pt>
                <c:pt idx="8">
                  <c:v>Cyprus</c:v>
                </c:pt>
                <c:pt idx="9">
                  <c:v>Hungary</c:v>
                </c:pt>
                <c:pt idx="10">
                  <c:v>Iceland</c:v>
                </c:pt>
                <c:pt idx="11">
                  <c:v>Norway</c:v>
                </c:pt>
                <c:pt idx="12">
                  <c:v>Ireland</c:v>
                </c:pt>
                <c:pt idx="13">
                  <c:v>Croatia</c:v>
                </c:pt>
                <c:pt idx="14">
                  <c:v>Switzerland</c:v>
                </c:pt>
                <c:pt idx="15">
                  <c:v>Slovakia</c:v>
                </c:pt>
                <c:pt idx="16">
                  <c:v>Austria</c:v>
                </c:pt>
                <c:pt idx="17">
                  <c:v>Portugal</c:v>
                </c:pt>
                <c:pt idx="18">
                  <c:v>Italy</c:v>
                </c:pt>
                <c:pt idx="19">
                  <c:v>Romania</c:v>
                </c:pt>
                <c:pt idx="20">
                  <c:v>Belgium</c:v>
                </c:pt>
                <c:pt idx="21">
                  <c:v>Denmark</c:v>
                </c:pt>
                <c:pt idx="22">
                  <c:v>Luxembourg</c:v>
                </c:pt>
                <c:pt idx="23">
                  <c:v>Latvia</c:v>
                </c:pt>
                <c:pt idx="24">
                  <c:v>Lithuania</c:v>
                </c:pt>
                <c:pt idx="25">
                  <c:v>Estonia</c:v>
                </c:pt>
                <c:pt idx="26">
                  <c:v>France</c:v>
                </c:pt>
                <c:pt idx="27">
                  <c:v>Türkiye</c:v>
                </c:pt>
                <c:pt idx="28">
                  <c:v>Serbia</c:v>
                </c:pt>
                <c:pt idx="29">
                  <c:v>Sweden</c:v>
                </c:pt>
                <c:pt idx="30">
                  <c:v>Greece</c:v>
                </c:pt>
                <c:pt idx="31">
                  <c:v>Finland</c:v>
                </c:pt>
                <c:pt idx="32">
                  <c:v>Spain</c:v>
                </c:pt>
                <c:pt idx="33">
                  <c:v>N.Macedonia</c:v>
                </c:pt>
                <c:pt idx="34">
                  <c:v>BiH</c:v>
                </c:pt>
              </c:strCache>
            </c:strRef>
          </c:cat>
          <c:val>
            <c:numRef>
              <c:f>'Sheet 1'!$P$15:$P$49</c:f>
              <c:numCache>
                <c:formatCode>#,##0.##########</c:formatCode>
                <c:ptCount val="35"/>
                <c:pt idx="0" formatCode="#,##0.0">
                  <c:v>6</c:v>
                </c:pt>
                <c:pt idx="1">
                  <c:v>2.8</c:v>
                </c:pt>
                <c:pt idx="2">
                  <c:v>3.1</c:v>
                </c:pt>
                <c:pt idx="3">
                  <c:v>3.1</c:v>
                </c:pt>
                <c:pt idx="4">
                  <c:v>3.5</c:v>
                </c:pt>
                <c:pt idx="5">
                  <c:v>3.8</c:v>
                </c:pt>
                <c:pt idx="6">
                  <c:v>3.9</c:v>
                </c:pt>
                <c:pt idx="7">
                  <c:v>3.9</c:v>
                </c:pt>
                <c:pt idx="8">
                  <c:v>4.4000000000000004</c:v>
                </c:pt>
                <c:pt idx="9">
                  <c:v>4.4000000000000004</c:v>
                </c:pt>
                <c:pt idx="10">
                  <c:v>4.5</c:v>
                </c:pt>
                <c:pt idx="11">
                  <c:v>4.5</c:v>
                </c:pt>
                <c:pt idx="12">
                  <c:v>4.7</c:v>
                </c:pt>
                <c:pt idx="13">
                  <c:v>4.9000000000000004</c:v>
                </c:pt>
                <c:pt idx="14">
                  <c:v>4.9000000000000004</c:v>
                </c:pt>
                <c:pt idx="15">
                  <c:v>5.4</c:v>
                </c:pt>
                <c:pt idx="16">
                  <c:v>5.7</c:v>
                </c:pt>
                <c:pt idx="17">
                  <c:v>6</c:v>
                </c:pt>
                <c:pt idx="18">
                  <c:v>6.1</c:v>
                </c:pt>
                <c:pt idx="19">
                  <c:v>6.1</c:v>
                </c:pt>
                <c:pt idx="20">
                  <c:v>6.2</c:v>
                </c:pt>
                <c:pt idx="21">
                  <c:v>6.4</c:v>
                </c:pt>
                <c:pt idx="22">
                  <c:v>6.5</c:v>
                </c:pt>
                <c:pt idx="23">
                  <c:v>6.9</c:v>
                </c:pt>
                <c:pt idx="24">
                  <c:v>6.9</c:v>
                </c:pt>
                <c:pt idx="25">
                  <c:v>7.5</c:v>
                </c:pt>
                <c:pt idx="26">
                  <c:v>7.7</c:v>
                </c:pt>
                <c:pt idx="27">
                  <c:v>8.4</c:v>
                </c:pt>
                <c:pt idx="28">
                  <c:v>8.6999999999999993</c:v>
                </c:pt>
                <c:pt idx="29">
                  <c:v>8.8000000000000007</c:v>
                </c:pt>
                <c:pt idx="30">
                  <c:v>8.9</c:v>
                </c:pt>
                <c:pt idx="31">
                  <c:v>9.6999999999999993</c:v>
                </c:pt>
                <c:pt idx="32">
                  <c:v>10.5</c:v>
                </c:pt>
                <c:pt idx="33">
                  <c:v>11.5</c:v>
                </c:pt>
                <c:pt idx="34">
                  <c:v>12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E64-E34E-99FA-199F1874C7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194640"/>
        <c:axId val="-188188656"/>
      </c:barChart>
      <c:catAx>
        <c:axId val="-18819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88656"/>
        <c:crosses val="autoZero"/>
        <c:auto val="1"/>
        <c:lblAlgn val="ctr"/>
        <c:lblOffset val="100"/>
        <c:noMultiLvlLbl val="0"/>
      </c:catAx>
      <c:valAx>
        <c:axId val="-188188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4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G3_8!$G$1</c:f>
              <c:strCache>
                <c:ptCount val="1"/>
                <c:pt idx="0">
                  <c:v>Produktivnost rad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0"/>
                  <c:y val="-6.666666666666666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F75-48F2-BCB4-3755FA2299FF}"/>
                </c:ext>
                <c:ext xmlns:c15="http://schemas.microsoft.com/office/drawing/2012/chart" uri="{CE6537A1-D6FC-4f65-9D91-7224C49458BB}">
                  <c15:layout>
                    <c:manualLayout>
                      <c:w val="7.3690062543432938E-2"/>
                      <c:h val="0.1554724409448818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3_8!$A$3:$A$18</c:f>
              <c:strCache>
                <c:ptCount val="12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Q1 2025</c:v>
                </c:pt>
                <c:pt idx="8">
                  <c:v>Q2 2025</c:v>
                </c:pt>
                <c:pt idx="9">
                  <c:v>Q3 2025</c:v>
                </c:pt>
                <c:pt idx="10">
                  <c:v>Q4 2025</c:v>
                </c:pt>
                <c:pt idx="11">
                  <c:v>Q1 2026</c:v>
                </c:pt>
              </c:strCache>
            </c:strRef>
          </c:cat>
          <c:val>
            <c:numRef>
              <c:f>G3_8!$G$3:$G$18</c:f>
              <c:numCache>
                <c:formatCode>0.0</c:formatCode>
                <c:ptCount val="12"/>
                <c:pt idx="0">
                  <c:v>101.15363309762606</c:v>
                </c:pt>
                <c:pt idx="1">
                  <c:v>102.37005616135406</c:v>
                </c:pt>
                <c:pt idx="2">
                  <c:v>97.285451484552368</c:v>
                </c:pt>
                <c:pt idx="3">
                  <c:v>104.80183189153547</c:v>
                </c:pt>
                <c:pt idx="4">
                  <c:v>100.74047508002093</c:v>
                </c:pt>
                <c:pt idx="5">
                  <c:v>102.2727461523957</c:v>
                </c:pt>
                <c:pt idx="6">
                  <c:v>103.3364982636606</c:v>
                </c:pt>
                <c:pt idx="7">
                  <c:v>101.5205805948068</c:v>
                </c:pt>
                <c:pt idx="8">
                  <c:v>101.41181706063898</c:v>
                </c:pt>
                <c:pt idx="9">
                  <c:v>101.62322604052167</c:v>
                </c:pt>
                <c:pt idx="10">
                  <c:v>102.70451021648262</c:v>
                </c:pt>
                <c:pt idx="11">
                  <c:v>103.1457864199100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F75-48F2-BCB4-3755FA2299FF}"/>
            </c:ext>
          </c:extLst>
        </c:ser>
        <c:ser>
          <c:idx val="1"/>
          <c:order val="1"/>
          <c:tx>
            <c:strRef>
              <c:f>G3_8!$H$1</c:f>
              <c:strCache>
                <c:ptCount val="1"/>
                <c:pt idx="0">
                  <c:v>Jedinični troškovi rad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3_8!$A$3:$A$18</c:f>
              <c:strCache>
                <c:ptCount val="12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Q1 2025</c:v>
                </c:pt>
                <c:pt idx="8">
                  <c:v>Q2 2025</c:v>
                </c:pt>
                <c:pt idx="9">
                  <c:v>Q3 2025</c:v>
                </c:pt>
                <c:pt idx="10">
                  <c:v>Q4 2025</c:v>
                </c:pt>
                <c:pt idx="11">
                  <c:v>Q1 2026</c:v>
                </c:pt>
              </c:strCache>
            </c:strRef>
          </c:cat>
          <c:val>
            <c:numRef>
              <c:f>G3_8!$H$3:$H$18</c:f>
              <c:numCache>
                <c:formatCode>0.0</c:formatCode>
                <c:ptCount val="12"/>
                <c:pt idx="0">
                  <c:v>103.20934286091415</c:v>
                </c:pt>
                <c:pt idx="1">
                  <c:v>105.98802429978549</c:v>
                </c:pt>
                <c:pt idx="2">
                  <c:v>110.70514486649768</c:v>
                </c:pt>
                <c:pt idx="3">
                  <c:v>100.57076111902663</c:v>
                </c:pt>
                <c:pt idx="4">
                  <c:v>100.95247210142388</c:v>
                </c:pt>
                <c:pt idx="5">
                  <c:v>100.12442596135503</c:v>
                </c:pt>
                <c:pt idx="6">
                  <c:v>105.57741149853361</c:v>
                </c:pt>
                <c:pt idx="7">
                  <c:v>104.82672515905986</c:v>
                </c:pt>
                <c:pt idx="8">
                  <c:v>104.88008506582796</c:v>
                </c:pt>
                <c:pt idx="9">
                  <c:v>105.25087239888605</c:v>
                </c:pt>
                <c:pt idx="10">
                  <c:v>106.78493332770506</c:v>
                </c:pt>
                <c:pt idx="11">
                  <c:v>105.5477831623457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F75-48F2-BCB4-3755FA229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88194096"/>
        <c:axId val="-188195184"/>
      </c:lineChart>
      <c:catAx>
        <c:axId val="-18819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5184"/>
        <c:crosses val="autoZero"/>
        <c:auto val="1"/>
        <c:lblAlgn val="ctr"/>
        <c:lblOffset val="100"/>
        <c:noMultiLvlLbl val="0"/>
      </c:catAx>
      <c:valAx>
        <c:axId val="-188195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8194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409</cdr:x>
      <cdr:y>0.4898</cdr:y>
    </cdr:from>
    <cdr:to>
      <cdr:x>0.46554</cdr:x>
      <cdr:y>0.6233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87454" y="1709389"/>
          <a:ext cx="1272913" cy="46611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/>
        <a:lstStyle xmlns:a="http://schemas.openxmlformats.org/drawingml/2006/main"/>
        <a:p xmlns:a="http://schemas.openxmlformats.org/drawingml/2006/main">
          <a:pPr algn="ctr"/>
          <a:r>
            <a:rPr lang="sr-Latn-RS" sz="1000" b="1">
              <a:solidFill>
                <a:srgbClr val="0070C0"/>
              </a:solidFill>
              <a:latin typeface="Arial Narrow" panose="020B0606020202030204" pitchFamily="34" charset="0"/>
              <a:cs typeface="Times New Roman" panose="02020603050405020304" pitchFamily="18" charset="0"/>
            </a:rPr>
            <a:t>inflacija</a:t>
          </a:r>
          <a:r>
            <a:rPr lang="sr-Latn-RS" sz="1000" b="1" baseline="0">
              <a:solidFill>
                <a:srgbClr val="0070C0"/>
              </a:solidFill>
              <a:latin typeface="Arial Narrow" panose="020B0606020202030204" pitchFamily="34" charset="0"/>
              <a:cs typeface="Times New Roman" panose="02020603050405020304" pitchFamily="18" charset="0"/>
            </a:rPr>
            <a:t> bez hrane, energije, alkohola i duvana</a:t>
          </a:r>
          <a:endParaRPr lang="en-US" sz="1000" b="1">
            <a:solidFill>
              <a:srgbClr val="0070C0"/>
            </a:solidFill>
            <a:latin typeface="Arial Narrow" panose="020B0606020202030204" pitchFamily="34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2373</cdr:x>
      <cdr:y>0.29211</cdr:y>
    </cdr:from>
    <cdr:to>
      <cdr:x>0.75677</cdr:x>
      <cdr:y>0.3399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430334" y="1019457"/>
          <a:ext cx="731685" cy="1668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sr-Latn-RS" sz="1000" b="1">
              <a:solidFill>
                <a:srgbClr val="FF0000"/>
              </a:solidFill>
              <a:latin typeface="Arial Narrow" panose="020B0606020202030204" pitchFamily="34" charset="0"/>
              <a:cs typeface="Times New Roman" panose="02020603050405020304" pitchFamily="18" charset="0"/>
            </a:rPr>
            <a:t>inflacija</a:t>
          </a:r>
          <a:endParaRPr lang="en-US" sz="1000" b="1">
            <a:solidFill>
              <a:srgbClr val="FF0000"/>
            </a:solidFill>
            <a:latin typeface="Arial Narrow" panose="020B0606020202030204" pitchFamily="34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7788</cdr:x>
      <cdr:y>0.72435</cdr:y>
    </cdr:from>
    <cdr:to>
      <cdr:x>0.87357</cdr:x>
      <cdr:y>0.78712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3728134" y="2527951"/>
          <a:ext cx="1076277" cy="21905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r-Latn-RS" sz="1000" b="1" baseline="0">
              <a:solidFill>
                <a:sysClr val="windowText" lastClr="000000"/>
              </a:solidFill>
              <a:latin typeface="Arial Narrow" panose="020B0606020202030204" pitchFamily="34" charset="0"/>
              <a:cs typeface="Times New Roman" panose="02020603050405020304" pitchFamily="18" charset="0"/>
            </a:rPr>
            <a:t>interval ciljane inflacije</a:t>
          </a:r>
          <a:endParaRPr lang="en-US" sz="1000" b="1">
            <a:solidFill>
              <a:sysClr val="windowText" lastClr="000000"/>
            </a:solidFill>
            <a:latin typeface="Arial Narrow" panose="020B0606020202030204" pitchFamily="34" charset="0"/>
            <a:cs typeface="Times New Roman" panose="02020603050405020304" pitchFamily="18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7496</cdr:x>
      <cdr:y>0</cdr:y>
    </cdr:from>
    <cdr:to>
      <cdr:x>0.92504</cdr:x>
      <cdr:y>0.19231</cdr:y>
    </cdr:to>
    <cdr:sp macro="" textlink="">
      <cdr:nvSpPr>
        <cdr:cNvPr id="2" name="TextBox 8"/>
        <cdr:cNvSpPr txBox="1"/>
      </cdr:nvSpPr>
      <cdr:spPr>
        <a:xfrm xmlns:a="http://schemas.openxmlformats.org/drawingml/2006/main">
          <a:off x="302733" y="0"/>
          <a:ext cx="3433134" cy="380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sr-Latn-RS" sz="1200" dirty="0">
              <a:solidFill>
                <a:schemeClr val="tx1">
                  <a:lumMod val="75000"/>
                  <a:lumOff val="25000"/>
                </a:schemeClr>
              </a:solidFill>
            </a:rPr>
            <a:t>Realne kamatne stope na dinarske kredite, u %</a:t>
          </a:r>
          <a:endParaRPr lang="en-US" sz="1200" dirty="0">
            <a:solidFill>
              <a:schemeClr val="tx1">
                <a:lumMod val="75000"/>
                <a:lumOff val="25000"/>
              </a:schemeClr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3774</cdr:x>
      <cdr:y>0</cdr:y>
    </cdr:from>
    <cdr:to>
      <cdr:x>1</cdr:x>
      <cdr:y>0.0958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xmlns="" id="{4618282E-6892-AE4E-D194-D73ED1E2FB0A}"/>
            </a:ext>
          </a:extLst>
        </cdr:cNvPr>
        <cdr:cNvSpPr txBox="1"/>
      </cdr:nvSpPr>
      <cdr:spPr>
        <a:xfrm xmlns:a="http://schemas.openxmlformats.org/drawingml/2006/main">
          <a:off x="152417" y="-1417638"/>
          <a:ext cx="3886183" cy="2292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sr-Latn-R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oprinos grupa proizvoda međugodišnjoj inflaciji, u pp</a:t>
          </a:r>
          <a:endParaRPr lang="en-GB" sz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6132</cdr:x>
      <cdr:y>0</cdr:y>
    </cdr:from>
    <cdr:to>
      <cdr:x>0.93868</cdr:x>
      <cdr:y>0.0884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7650" y="-1600201"/>
          <a:ext cx="3543300" cy="2628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Nominalni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alni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kurs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dinar/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vro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rosek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meseca</a:t>
          </a:r>
          <a:endParaRPr lang="en-GB" sz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4528</cdr:x>
      <cdr:y>0</cdr:y>
    </cdr:from>
    <cdr:to>
      <cdr:x>0.9717</cdr:x>
      <cdr:y>0.5906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90600" y="0"/>
          <a:ext cx="2933700" cy="12601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Fiskalni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bilans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, % BDP</a:t>
          </a:r>
          <a:endParaRPr lang="en-GB" sz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9198</cdr:x>
      <cdr:y>0.05527</cdr:y>
    </cdr:from>
    <cdr:to>
      <cdr:x>0.2938</cdr:x>
      <cdr:y>0.76191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xmlns="" id="{47106AE4-4938-CDD1-EB3F-2FFB1748306B}"/>
            </a:ext>
          </a:extLst>
        </cdr:cNvPr>
        <cdr:cNvCxnSpPr/>
      </cdr:nvCxnSpPr>
      <cdr:spPr>
        <a:xfrm xmlns:a="http://schemas.openxmlformats.org/drawingml/2006/main" flipH="1">
          <a:off x="1713546" y="199163"/>
          <a:ext cx="6285" cy="235157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3199</cdr:x>
      <cdr:y>0.04207</cdr:y>
    </cdr:from>
    <cdr:to>
      <cdr:x>0.632</cdr:x>
      <cdr:y>0.75829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xmlns="" id="{37D30761-8EA4-BA66-E9CA-A7746759F992}"/>
            </a:ext>
          </a:extLst>
        </cdr:cNvPr>
        <cdr:cNvCxnSpPr/>
      </cdr:nvCxnSpPr>
      <cdr:spPr>
        <a:xfrm xmlns:a="http://schemas.openxmlformats.org/drawingml/2006/main" flipH="1">
          <a:off x="3680900" y="155541"/>
          <a:ext cx="58" cy="238302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3874</cdr:x>
      <cdr:y>0</cdr:y>
    </cdr:from>
    <cdr:to>
      <cdr:x>0.87636</cdr:x>
      <cdr:y>0.13981</cdr:y>
    </cdr:to>
    <cdr:sp macro="" textlink="">
      <cdr:nvSpPr>
        <cdr:cNvPr id="5" name="Rectangle 4"/>
        <cdr:cNvSpPr/>
      </cdr:nvSpPr>
      <cdr:spPr>
        <a:xfrm xmlns:a="http://schemas.openxmlformats.org/drawingml/2006/main">
          <a:off x="560302" y="-1600200"/>
          <a:ext cx="2978955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sr-Latn-R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alni rast javnih prihoda, međugod. u %</a:t>
          </a:r>
          <a:endParaRPr lang="en-GB" sz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0883</cdr:x>
      <cdr:y>0.05484</cdr:y>
    </cdr:from>
    <cdr:to>
      <cdr:x>0.21039</cdr:x>
      <cdr:y>0.81366</cdr:y>
    </cdr:to>
    <cdr:cxnSp macro="">
      <cdr:nvCxnSpPr>
        <cdr:cNvPr id="2" name="Straight Connector 1">
          <a:extLst xmlns:a="http://schemas.openxmlformats.org/drawingml/2006/main">
            <a:ext uri="{FF2B5EF4-FFF2-40B4-BE49-F238E27FC236}">
              <a16:creationId xmlns:a16="http://schemas.microsoft.com/office/drawing/2014/main" xmlns="" id="{27924BF3-4416-4761-8496-DD58A35A2B3D}"/>
            </a:ext>
          </a:extLst>
        </cdr:cNvPr>
        <cdr:cNvCxnSpPr/>
      </cdr:nvCxnSpPr>
      <cdr:spPr>
        <a:xfrm xmlns:a="http://schemas.openxmlformats.org/drawingml/2006/main" flipH="1">
          <a:off x="1227217" y="168283"/>
          <a:ext cx="7676" cy="2444105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4318</cdr:x>
      <cdr:y>0.06541</cdr:y>
    </cdr:from>
    <cdr:to>
      <cdr:x>0.84646</cdr:x>
      <cdr:y>0.82761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xmlns="" id="{3C2173B3-986A-DB04-F89A-3D5F4957DC79}"/>
            </a:ext>
          </a:extLst>
        </cdr:cNvPr>
        <cdr:cNvCxnSpPr/>
      </cdr:nvCxnSpPr>
      <cdr:spPr>
        <a:xfrm xmlns:a="http://schemas.openxmlformats.org/drawingml/2006/main" flipH="1">
          <a:off x="4196443" y="144177"/>
          <a:ext cx="11387" cy="221258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0825</cdr:x>
      <cdr:y>0</cdr:y>
    </cdr:from>
    <cdr:to>
      <cdr:x>0.77214</cdr:x>
      <cdr:y>0.089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09311" y="-1600201"/>
          <a:ext cx="2191378" cy="25356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namika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javnog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dirty="0" err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uga</a:t>
          </a:r>
          <a:r>
            <a: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Srbije</a:t>
          </a:r>
          <a:endParaRPr lang="en-GB" sz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37017</cdr:x>
      <cdr:y>0.56531</cdr:y>
    </cdr:from>
    <cdr:to>
      <cdr:x>0.65026</cdr:x>
      <cdr:y>0.617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66667" y="2122294"/>
          <a:ext cx="1563745" cy="1955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0" tIns="0" rIns="0" bIns="0" rtlCol="0"/>
        <a:lstStyle xmlns:a="http://schemas.openxmlformats.org/drawingml/2006/main"/>
        <a:p xmlns:a="http://schemas.openxmlformats.org/drawingml/2006/main">
          <a:r>
            <a:rPr lang="en-US" sz="1100" b="1">
              <a:solidFill>
                <a:srgbClr val="0070C0"/>
              </a:solidFill>
            </a:rPr>
            <a:t>referentna stopa</a:t>
          </a:r>
        </a:p>
      </cdr:txBody>
    </cdr:sp>
  </cdr:relSizeAnchor>
  <cdr:relSizeAnchor xmlns:cdr="http://schemas.openxmlformats.org/drawingml/2006/chartDrawing">
    <cdr:from>
      <cdr:x>0.62053</cdr:x>
      <cdr:y>0.29705</cdr:y>
    </cdr:from>
    <cdr:to>
      <cdr:x>0.74552</cdr:x>
      <cdr:y>0.3621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464419" y="1115205"/>
          <a:ext cx="697820" cy="2443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>
              <a:solidFill>
                <a:srgbClr val="00B050"/>
              </a:solidFill>
            </a:rPr>
            <a:t>inflacija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</cdr:x>
      <cdr:y>3.74953E-7</cdr:y>
    </cdr:from>
    <cdr:to>
      <cdr:x>1</cdr:x>
      <cdr:y>0.11429</cdr:y>
    </cdr:to>
    <cdr:sp macro="" textlink="">
      <cdr:nvSpPr>
        <cdr:cNvPr id="2" name="TextBox 10">
          <a:extLst xmlns:a="http://schemas.openxmlformats.org/drawingml/2006/main">
            <a:ext uri="{FF2B5EF4-FFF2-40B4-BE49-F238E27FC236}">
              <a16:creationId xmlns:a16="http://schemas.microsoft.com/office/drawing/2014/main" xmlns="" id="{BF2EA4D5-2929-AE0A-8CF4-62EFC89CF503}"/>
            </a:ext>
          </a:extLst>
        </cdr:cNvPr>
        <cdr:cNvSpPr txBox="1"/>
      </cdr:nvSpPr>
      <cdr:spPr>
        <a:xfrm xmlns:a="http://schemas.openxmlformats.org/drawingml/2006/main">
          <a:off x="0" y="1"/>
          <a:ext cx="40386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sr-Latn-RS" sz="1200" dirty="0">
              <a:solidFill>
                <a:schemeClr val="tx1">
                  <a:lumMod val="75000"/>
                  <a:lumOff val="25000"/>
                </a:schemeClr>
              </a:solidFill>
            </a:rPr>
            <a:t>Prirast novih kredita privrede i stanovništva, 2015-2025</a:t>
          </a:r>
          <a:endParaRPr lang="en-US" sz="1200" dirty="0">
            <a:solidFill>
              <a:schemeClr val="tx1">
                <a:lumMod val="75000"/>
                <a:lumOff val="25000"/>
              </a:schemeClr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0"/>
            <a:ext cx="2946448" cy="496016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230" y="10"/>
            <a:ext cx="2944869" cy="496016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r">
              <a:defRPr sz="1200"/>
            </a:lvl1pPr>
          </a:lstStyle>
          <a:p>
            <a:fld id="{8BCD1AD0-554C-4430-815D-7F06624027E1}" type="datetimeFigureOut">
              <a:rPr lang="en-US" smtClean="0"/>
              <a:pPr/>
              <a:t>6/2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432228"/>
            <a:ext cx="2946448" cy="496016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230" y="9432228"/>
            <a:ext cx="2944869" cy="496016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r">
              <a:defRPr sz="1200"/>
            </a:lvl1pPr>
          </a:lstStyle>
          <a:p>
            <a:fld id="{5EB88924-5EE5-49CF-9CD7-46AC3AED65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7375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7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9" y="7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r">
              <a:defRPr sz="1200"/>
            </a:lvl1pPr>
          </a:lstStyle>
          <a:p>
            <a:fld id="{5438C5D9-579A-4C11-94F1-C18EBED6A766}" type="datetimeFigureOut">
              <a:rPr lang="en-US" smtClean="0"/>
              <a:pPr/>
              <a:t>6/2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35" tIns="45417" rIns="90835" bIns="4541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6662"/>
            <a:ext cx="5438140" cy="4468415"/>
          </a:xfrm>
          <a:prstGeom prst="rect">
            <a:avLst/>
          </a:prstGeom>
        </p:spPr>
        <p:txBody>
          <a:bodyPr vert="horz" lIns="90835" tIns="45417" rIns="90835" bIns="4541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9431608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9" y="9431608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r">
              <a:defRPr sz="1200"/>
            </a:lvl1pPr>
          </a:lstStyle>
          <a:p>
            <a:fld id="{60396250-CD69-4128-A88A-D5A62B61DF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6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92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351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D037E3-632A-4ACF-976F-89A4BF18E3B1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8DDA5-5A76-46A7-9A34-F2EB761C2761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0376D-12DB-44E3-9745-6DC28FE02E38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FA162D-121F-45F0-BF2B-B9D543A3CCFA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948" y="570976"/>
            <a:ext cx="906511" cy="250813"/>
          </a:xfrm>
          <a:prstGeom prst="rect">
            <a:avLst/>
          </a:prstGeom>
        </p:spPr>
      </p:pic>
      <p:pic>
        <p:nvPicPr>
          <p:cNvPr id="12" name="Picture 11" descr="Ekof logo - bela pozadina horizontalno, latinica.pn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27004" y="131032"/>
            <a:ext cx="1676400" cy="3745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7ED64-AE59-4AE2-B4CC-C34DEFC01573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B021D-C04B-4934-8823-C7AD1B971EDE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948" y="570976"/>
            <a:ext cx="906511" cy="250813"/>
          </a:xfrm>
          <a:prstGeom prst="rect">
            <a:avLst/>
          </a:prstGeom>
        </p:spPr>
      </p:pic>
      <p:pic>
        <p:nvPicPr>
          <p:cNvPr id="10" name="Picture 9" descr="Ekof logo - bela pozadina horizontalno, latinica.pn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27004" y="131032"/>
            <a:ext cx="1676400" cy="3745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8C5AF-2678-4EBA-94F2-9A5FEBF39E2D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40B6A-C987-4D24-B467-406CDB243946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8D527-DF48-465B-93F8-D1E707FA3333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CD4B08-1882-443F-B8B2-4E57986FD4E3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F845E-2972-4B3C-9030-6F49C0A8C13D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18003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99159-95A0-43BF-BA4D-3761060E5702}" type="datetime1">
              <a:rPr lang="en-US" smtClean="0"/>
              <a:pPr/>
              <a:t>6/29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2632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8343" y="4967846"/>
            <a:ext cx="7772400" cy="1470025"/>
          </a:xfrm>
        </p:spPr>
        <p:txBody>
          <a:bodyPr vert="horz"/>
          <a:lstStyle/>
          <a:p>
            <a:r>
              <a:rPr lang="sr-Latn-RS" noProof="0" dirty="0">
                <a:latin typeface="Arial" panose="020B0604020202020204" pitchFamily="34" charset="0"/>
                <a:cs typeface="Arial" panose="020B0604020202020204" pitchFamily="34" charset="0"/>
              </a:rPr>
              <a:t>Prezentacija QM84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" r="66043"/>
          <a:stretch/>
        </p:blipFill>
        <p:spPr>
          <a:xfrm>
            <a:off x="4267200" y="6035740"/>
            <a:ext cx="1085681" cy="6159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503825"/>
            <a:ext cx="1778943" cy="492197"/>
          </a:xfrm>
          <a:prstGeom prst="rect">
            <a:avLst/>
          </a:prstGeom>
        </p:spPr>
      </p:pic>
      <p:pic>
        <p:nvPicPr>
          <p:cNvPr id="7" name="Picture 6" descr="Ekof logo - bela pozadina horizontalno, latinica.png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33400" y="382416"/>
            <a:ext cx="3289778" cy="73501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E7065493-59B5-C3A9-C813-EABF17AF661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1117429"/>
            <a:ext cx="3028730" cy="4280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685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2484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–tekuće transakcije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968564"/>
          </a:xfrm>
        </p:spPr>
        <p:txBody>
          <a:bodyPr>
            <a:normAutofit fontScale="62500" lnSpcReduction="20000"/>
          </a:bodyPr>
          <a:lstStyle/>
          <a:p>
            <a:r>
              <a:rPr lang="sr-Latn-RS" noProof="0" dirty="0"/>
              <a:t>U Q1 značajno je smanjen </a:t>
            </a:r>
            <a:r>
              <a:rPr lang="sr-Latn-RS" noProof="0" dirty="0" err="1"/>
              <a:t>spoljnotrgovački</a:t>
            </a:r>
            <a:r>
              <a:rPr lang="sr-Latn-RS" noProof="0" dirty="0"/>
              <a:t> deficit</a:t>
            </a:r>
          </a:p>
          <a:p>
            <a:pPr lvl="1"/>
            <a:r>
              <a:rPr lang="sr-Latn-RS" noProof="0" dirty="0"/>
              <a:t>iznosio je 2,3% BDP, a godinu dana ranije bio je duplo veći (4,6% BDP) </a:t>
            </a:r>
          </a:p>
          <a:p>
            <a:r>
              <a:rPr lang="sr-Latn-RS" noProof="0" dirty="0"/>
              <a:t>Smanjenje trgovinskog deficita je posledica rasta izvoza (6,4%), ali i sporog rasta uvoza (2,5%), što je  jednim delom privremeno</a:t>
            </a:r>
          </a:p>
          <a:p>
            <a:r>
              <a:rPr lang="sr-Latn-RS" noProof="0" dirty="0"/>
              <a:t>Smanjenje robnog deficita ključno je doprinelo smanjenju deficita u tekućem platnom bilansu na 0,8% u Q1</a:t>
            </a:r>
          </a:p>
          <a:p>
            <a:pPr lvl="1"/>
            <a:r>
              <a:rPr lang="sr-Latn-RS" noProof="0" dirty="0"/>
              <a:t>većina zemalja CIE ima ravnotežu ili suficit u tekućem bilansu u dužem periodu </a:t>
            </a:r>
          </a:p>
          <a:p>
            <a:r>
              <a:rPr lang="sr-Latn-RS" noProof="0" dirty="0"/>
              <a:t>U ne-trgovinskom delu tekućeg bilansa ostvaren je suficit</a:t>
            </a:r>
          </a:p>
          <a:p>
            <a:pPr lvl="1"/>
            <a:r>
              <a:rPr lang="sr-Latn-RS" noProof="0" dirty="0"/>
              <a:t>suficit na računu sekundarnog dohotka 5,9% BDP-a, je bio veći od deficita na računu primarnog dohotka (4,4% BDP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0</a:t>
            </a:fld>
            <a:endParaRPr lang="sr-Latn-RS" noProof="0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945254" y="1828801"/>
            <a:ext cx="4038599" cy="212128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DCF079B-E3F1-84CA-00B9-572EB8AA1A59}"/>
              </a:ext>
            </a:extLst>
          </p:cNvPr>
          <p:cNvSpPr/>
          <p:nvPr/>
        </p:nvSpPr>
        <p:spPr>
          <a:xfrm>
            <a:off x="4945255" y="1599501"/>
            <a:ext cx="3816707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kući i spoljnotrgovinski deficit, kao % BDP</a:t>
            </a: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816195"/>
              </p:ext>
            </p:extLst>
          </p:nvPr>
        </p:nvGraphicFramePr>
        <p:xfrm>
          <a:off x="4968135" y="4179386"/>
          <a:ext cx="3803352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299961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2484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–tekuće transakcije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05000"/>
            <a:ext cx="4038600" cy="4816474"/>
          </a:xfrm>
        </p:spPr>
        <p:txBody>
          <a:bodyPr>
            <a:normAutofit fontScale="55000" lnSpcReduction="20000"/>
          </a:bodyPr>
          <a:lstStyle/>
          <a:p>
            <a:r>
              <a:rPr lang="sr-Latn-RS" noProof="0" dirty="0"/>
              <a:t>Rast izvoza i smanjenje spoljnotrgovinskog deficita sugeriše jačanje konkurentske pozicije domaće privrede</a:t>
            </a:r>
          </a:p>
          <a:p>
            <a:endParaRPr lang="sr-Latn-RS" noProof="0" dirty="0"/>
          </a:p>
          <a:p>
            <a:r>
              <a:rPr lang="sr-Latn-RS" noProof="0" dirty="0"/>
              <a:t>Glavni generatori međunarodne </a:t>
            </a:r>
            <a:r>
              <a:rPr lang="sr-Latn-RS" noProof="0" dirty="0" err="1"/>
              <a:t>konkurentosti</a:t>
            </a:r>
            <a:r>
              <a:rPr lang="sr-Latn-RS" noProof="0" dirty="0"/>
              <a:t> u prošlosti su bile SDI</a:t>
            </a:r>
          </a:p>
          <a:p>
            <a:pPr lvl="1"/>
            <a:r>
              <a:rPr lang="sr-Latn-RS" noProof="0" dirty="0"/>
              <a:t>SDI u prošloj i ovoj godini opadaju, verovatno se neće vratiti na nivo iz prethodne decenije</a:t>
            </a:r>
          </a:p>
          <a:p>
            <a:pPr lvl="1"/>
            <a:r>
              <a:rPr lang="sr-Latn-RS" noProof="0" dirty="0"/>
              <a:t>u budućnosti domaća privatna preduzeća treba da budu nosioci rasta izvoza</a:t>
            </a:r>
          </a:p>
          <a:p>
            <a:endParaRPr lang="sr-Latn-RS" noProof="0" dirty="0"/>
          </a:p>
          <a:p>
            <a:r>
              <a:rPr lang="sr-Latn-RS" noProof="0" dirty="0" err="1"/>
              <a:t>Uvodjenje</a:t>
            </a:r>
            <a:r>
              <a:rPr lang="sr-Latn-RS" noProof="0" dirty="0"/>
              <a:t> CBAM, kvota za čelik i </a:t>
            </a:r>
            <a:r>
              <a:rPr lang="sr-Latn-RS" noProof="0" dirty="0" err="1"/>
              <a:t>gvoždje</a:t>
            </a:r>
            <a:r>
              <a:rPr lang="sr-Latn-RS" noProof="0" dirty="0"/>
              <a:t>, kao i američkih sankcija kineskim preduzećima će negativno uticati na izvoz Srbije</a:t>
            </a:r>
          </a:p>
          <a:p>
            <a:endParaRPr lang="sr-Latn-RS" noProof="0" dirty="0"/>
          </a:p>
          <a:p>
            <a:r>
              <a:rPr lang="sr-Latn-RS" noProof="0" dirty="0"/>
              <a:t>Podaci o odnosima razmene u Q1  RZS i MMF se značajno razlikuju</a:t>
            </a:r>
          </a:p>
          <a:p>
            <a:pPr lvl="1"/>
            <a:r>
              <a:rPr lang="sr-Latn-RS" noProof="0" dirty="0"/>
              <a:t>Prema podacima RZS odnosi razmene su poboljšani za čak 12,2%, dok su prema MMF ostali približno nepromenjeni </a:t>
            </a:r>
          </a:p>
          <a:p>
            <a:pPr lvl="1"/>
            <a:endParaRPr lang="sr-Latn-R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1</a:t>
            </a:fld>
            <a:endParaRPr lang="sr-Latn-RS" noProof="0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878858" y="4534653"/>
            <a:ext cx="3505200" cy="178556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C9C00D1-7F73-2CE9-1278-8BA91F7D06AA}"/>
              </a:ext>
            </a:extLst>
          </p:cNvPr>
          <p:cNvSpPr/>
          <p:nvPr/>
        </p:nvSpPr>
        <p:spPr>
          <a:xfrm>
            <a:off x="4724400" y="4360017"/>
            <a:ext cx="4271317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deks odnosa razmene (jul 2012 = 100)</a:t>
            </a:r>
          </a:p>
        </p:txBody>
      </p:sp>
      <p:pic>
        <p:nvPicPr>
          <p:cNvPr id="8" name="Picture 7"/>
          <p:cNvPicPr/>
          <p:nvPr/>
        </p:nvPicPr>
        <p:blipFill>
          <a:blip r:embed="rId3"/>
          <a:stretch>
            <a:fillRect/>
          </a:stretch>
        </p:blipFill>
        <p:spPr>
          <a:xfrm>
            <a:off x="4495800" y="1905000"/>
            <a:ext cx="3988324" cy="216376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7EF8C859-4C56-A39C-395E-E795B29FECD9}"/>
              </a:ext>
            </a:extLst>
          </p:cNvPr>
          <p:cNvSpPr/>
          <p:nvPr/>
        </p:nvSpPr>
        <p:spPr>
          <a:xfrm>
            <a:off x="4835165" y="1766500"/>
            <a:ext cx="38139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bna razmena Srbije, </a:t>
            </a:r>
            <a:r>
              <a:rPr lang="sr-Latn-RS" sz="1200" noProof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sezonirano</a:t>
            </a:r>
            <a:endParaRPr lang="sr-Latn-RS" sz="1200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310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530" y="136525"/>
            <a:ext cx="64008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–kapitalne transakcije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00501" cy="4525963"/>
          </a:xfrm>
        </p:spPr>
        <p:txBody>
          <a:bodyPr>
            <a:normAutofit fontScale="70000" lnSpcReduction="20000"/>
          </a:bodyPr>
          <a:lstStyle/>
          <a:p>
            <a:r>
              <a:rPr lang="sr-Latn-RS" noProof="0" dirty="0"/>
              <a:t>U Q1 došlo je do odliva kapitala  iz Srbije u iznosu od 866 miliona evra</a:t>
            </a:r>
          </a:p>
          <a:p>
            <a:pPr lvl="1"/>
            <a:r>
              <a:rPr lang="sr-Latn-RS" noProof="0" dirty="0"/>
              <a:t>SDI su opale za čak  za 44%</a:t>
            </a:r>
          </a:p>
          <a:p>
            <a:pPr lvl="1"/>
            <a:r>
              <a:rPr lang="sr-Latn-RS" noProof="0" dirty="0"/>
              <a:t>smanjeni su trgovinski krediti</a:t>
            </a:r>
          </a:p>
          <a:p>
            <a:pPr lvl="1"/>
            <a:r>
              <a:rPr lang="sr-Latn-RS" noProof="0" dirty="0"/>
              <a:t>povučene portfolio investicije</a:t>
            </a:r>
          </a:p>
          <a:p>
            <a:endParaRPr lang="sr-Latn-RS" noProof="0" dirty="0"/>
          </a:p>
          <a:p>
            <a:r>
              <a:rPr lang="sr-Latn-RS" noProof="0" dirty="0"/>
              <a:t>Zabrinjavajuće je smanjenje SDI, na to su uticali brojni faktori </a:t>
            </a:r>
          </a:p>
          <a:p>
            <a:pPr lvl="1"/>
            <a:r>
              <a:rPr lang="sr-Latn-RS" noProof="0" dirty="0"/>
              <a:t>rast troškova poslovanje u Srbiji</a:t>
            </a:r>
          </a:p>
          <a:p>
            <a:pPr lvl="1"/>
            <a:r>
              <a:rPr lang="sr-Latn-RS" noProof="0" dirty="0"/>
              <a:t>politička nestabilnost </a:t>
            </a:r>
          </a:p>
          <a:p>
            <a:pPr lvl="1"/>
            <a:r>
              <a:rPr lang="sr-Latn-RS" noProof="0" dirty="0"/>
              <a:t>stagnacija u EU</a:t>
            </a:r>
          </a:p>
          <a:p>
            <a:pPr marL="457200" lvl="1" indent="0">
              <a:buNone/>
            </a:pPr>
            <a:endParaRPr lang="sr-Latn-RS" noProof="0" dirty="0"/>
          </a:p>
          <a:p>
            <a:r>
              <a:rPr lang="sr-Latn-RS" noProof="0" dirty="0"/>
              <a:t>Procenjujemo da se SDI neće vratiti na nivoe iz prethodnih 10- </a:t>
            </a:r>
            <a:r>
              <a:rPr lang="sr-Latn-RS" noProof="0" dirty="0" err="1"/>
              <a:t>ak</a:t>
            </a:r>
            <a:r>
              <a:rPr lang="sr-Latn-RS" noProof="0" dirty="0"/>
              <a:t> godin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2</a:t>
            </a:fld>
            <a:endParaRPr lang="sr-Latn-RS" noProof="0" dirty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07632"/>
              </p:ext>
            </p:extLst>
          </p:nvPr>
        </p:nvGraphicFramePr>
        <p:xfrm>
          <a:off x="4495800" y="363585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ontent Placeholder 11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397358957"/>
              </p:ext>
            </p:extLst>
          </p:nvPr>
        </p:nvGraphicFramePr>
        <p:xfrm>
          <a:off x="4686300" y="1315403"/>
          <a:ext cx="4038600" cy="2147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323026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-19361"/>
            <a:ext cx="5791200" cy="1143000"/>
          </a:xfrm>
        </p:spPr>
        <p:txBody>
          <a:bodyPr/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kurs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23640"/>
            <a:ext cx="4038600" cy="5353360"/>
          </a:xfrm>
        </p:spPr>
        <p:txBody>
          <a:bodyPr>
            <a:normAutofit fontScale="55000" lnSpcReduction="20000"/>
          </a:bodyPr>
          <a:lstStyle/>
          <a:p>
            <a:r>
              <a:rPr lang="sr-Latn-RS" noProof="0" dirty="0"/>
              <a:t>Inflacija u Srbiji je nakon početka rata na Bliskom istoku i skoka cena energenata ubrzala</a:t>
            </a:r>
          </a:p>
          <a:p>
            <a:pPr lvl="1"/>
            <a:r>
              <a:rPr lang="sr-Latn-RS" noProof="0" dirty="0"/>
              <a:t>međugodišnja inflacija je povećana sa 2,2% u januaru na 3,5% u maju</a:t>
            </a:r>
          </a:p>
          <a:p>
            <a:pPr marL="457200" lvl="1" indent="0">
              <a:buNone/>
            </a:pPr>
            <a:endParaRPr lang="sr-Latn-RS" noProof="0" dirty="0"/>
          </a:p>
          <a:p>
            <a:r>
              <a:rPr lang="sr-Latn-RS" noProof="0" dirty="0"/>
              <a:t>Rast inflacije je za sada skroman i relativno ujednačen u evropskim zemljama</a:t>
            </a:r>
          </a:p>
          <a:p>
            <a:endParaRPr lang="sr-Latn-RS" noProof="0" dirty="0"/>
          </a:p>
          <a:p>
            <a:r>
              <a:rPr lang="sr-Latn-RS" noProof="0" dirty="0"/>
              <a:t>Međugodišnja inflacija u maju je bila veća od inflacije u januaru</a:t>
            </a:r>
          </a:p>
          <a:p>
            <a:pPr lvl="1"/>
            <a:r>
              <a:rPr lang="sr-Latn-RS" noProof="0" dirty="0"/>
              <a:t>u Srbiji i na Zapadnom Balkanu za 1,1 </a:t>
            </a:r>
            <a:r>
              <a:rPr lang="sr-Latn-RS" noProof="0" dirty="0" err="1"/>
              <a:t>pp</a:t>
            </a:r>
            <a:r>
              <a:rPr lang="sr-Latn-RS" noProof="0" dirty="0"/>
              <a:t> </a:t>
            </a:r>
          </a:p>
          <a:p>
            <a:pPr lvl="1"/>
            <a:r>
              <a:rPr lang="sr-Latn-RS" noProof="0" dirty="0"/>
              <a:t>u </a:t>
            </a:r>
            <a:r>
              <a:rPr lang="sr-Latn-RS" noProof="0" dirty="0" err="1"/>
              <a:t>Evrozoni</a:t>
            </a:r>
            <a:r>
              <a:rPr lang="sr-Latn-RS" noProof="0" dirty="0"/>
              <a:t> za 1,5 </a:t>
            </a:r>
            <a:r>
              <a:rPr lang="sr-Latn-RS" noProof="0" dirty="0" err="1"/>
              <a:t>pp</a:t>
            </a:r>
            <a:r>
              <a:rPr lang="sr-Latn-RS" noProof="0" dirty="0"/>
              <a:t>, a u zemljama CIE za 1,3 </a:t>
            </a:r>
            <a:r>
              <a:rPr lang="sr-Latn-RS" noProof="0" dirty="0" err="1"/>
              <a:t>pp</a:t>
            </a:r>
            <a:r>
              <a:rPr lang="sr-Latn-RS" noProof="0" dirty="0"/>
              <a:t> </a:t>
            </a:r>
          </a:p>
          <a:p>
            <a:pPr marL="457200" lvl="1" indent="0">
              <a:buNone/>
            </a:pPr>
            <a:endParaRPr lang="sr-Latn-RS" noProof="0" dirty="0"/>
          </a:p>
          <a:p>
            <a:r>
              <a:rPr lang="sr-Latn-RS" noProof="0" dirty="0"/>
              <a:t>Nizak rast inflacije u odnosu na ranije naftne šokove je posledica </a:t>
            </a:r>
          </a:p>
          <a:p>
            <a:pPr lvl="1"/>
            <a:r>
              <a:rPr lang="sr-Latn-RS" noProof="0" dirty="0"/>
              <a:t>skok cena energenata bio je umeren i relativno kratkotrajan (sa sada)</a:t>
            </a:r>
          </a:p>
          <a:p>
            <a:pPr lvl="1"/>
            <a:r>
              <a:rPr lang="sr-Latn-RS" noProof="0" dirty="0"/>
              <a:t>reakcije vlada, uključujući i Srbije, su bile pravovremene (akcize, rezerve)</a:t>
            </a:r>
          </a:p>
          <a:p>
            <a:pPr lvl="1"/>
            <a:r>
              <a:rPr lang="sr-Latn-RS" noProof="0" dirty="0"/>
              <a:t>učešće energenata u troškovima proizvodnje je smanjeno, inflaciona očekivanja usidrena</a:t>
            </a:r>
          </a:p>
          <a:p>
            <a:pPr lvl="1"/>
            <a:endParaRPr lang="sr-Latn-RS" noProof="0" dirty="0"/>
          </a:p>
          <a:p>
            <a:r>
              <a:rPr lang="sr-Latn-RS" noProof="0" dirty="0"/>
              <a:t>Katastrofične prognoze se nisu ostvarile, bile su malo verovatne</a:t>
            </a:r>
          </a:p>
          <a:p>
            <a:pPr lvl="1"/>
            <a:endParaRPr lang="sr-Latn-R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3</a:t>
            </a:fld>
            <a:endParaRPr lang="sr-Latn-RS" noProof="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xmlns="" id="{00000000-0008-0000-0600-0000020000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341904884"/>
              </p:ext>
            </p:extLst>
          </p:nvPr>
        </p:nvGraphicFramePr>
        <p:xfrm>
          <a:off x="4648200" y="1600201"/>
          <a:ext cx="4038600" cy="2209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1"/>
          <p:cNvSpPr txBox="1"/>
          <p:nvPr/>
        </p:nvSpPr>
        <p:spPr>
          <a:xfrm>
            <a:off x="5177790" y="1195926"/>
            <a:ext cx="3200400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išnja inflacija i ciljni koridor, u %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xmlns="" i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899534"/>
              </p:ext>
            </p:extLst>
          </p:nvPr>
        </p:nvGraphicFramePr>
        <p:xfrm>
          <a:off x="4648200" y="4218652"/>
          <a:ext cx="3998302" cy="2148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BCF61F3-62C2-05AF-1652-FD6FE2A65C91}"/>
              </a:ext>
            </a:extLst>
          </p:cNvPr>
          <p:cNvSpPr txBox="1"/>
          <p:nvPr/>
        </p:nvSpPr>
        <p:spPr>
          <a:xfrm>
            <a:off x="5173980" y="3958538"/>
            <a:ext cx="32004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išnja inflacija u maju 2026., u %</a:t>
            </a:r>
          </a:p>
        </p:txBody>
      </p:sp>
    </p:spTree>
    <p:extLst>
      <p:ext uri="{BB962C8B-B14F-4D97-AF65-F5344CB8AC3E}">
        <p14:creationId xmlns:p14="http://schemas.microsoft.com/office/powerpoint/2010/main" val="3152570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5791200" cy="1143000"/>
          </a:xfrm>
        </p:spPr>
        <p:txBody>
          <a:bodyPr/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kurs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sr-Latn-RS" noProof="0" dirty="0"/>
              <a:t>Cene energenata prošle godine nisu značajno doprinosile inflaciji, ove godine su jedan od glavnih pokretača inflacije</a:t>
            </a:r>
          </a:p>
          <a:p>
            <a:endParaRPr lang="sr-Latn-RS" noProof="0" dirty="0"/>
          </a:p>
          <a:p>
            <a:r>
              <a:rPr lang="sr-Latn-RS" noProof="0" dirty="0"/>
              <a:t>Doprinos cena energenata inflaciji povećan je sa 6% u prošloj godini na 30% u Q1, u 45% u maju ove godine</a:t>
            </a:r>
          </a:p>
          <a:p>
            <a:endParaRPr lang="sr-Latn-RS" noProof="0" dirty="0"/>
          </a:p>
          <a:p>
            <a:r>
              <a:rPr lang="sr-Latn-RS" noProof="0" dirty="0"/>
              <a:t>Osim cene energenata značajan doprinos inflaciji daju cene usluga </a:t>
            </a:r>
          </a:p>
          <a:p>
            <a:pPr lvl="1"/>
            <a:r>
              <a:rPr lang="sr-Latn-RS" noProof="0" dirty="0"/>
              <a:t>njihov doprinos inflaciji u proteklom delu godine je bio nešto veći od energenata</a:t>
            </a:r>
          </a:p>
          <a:p>
            <a:pPr lvl="1"/>
            <a:r>
              <a:rPr lang="sr-Latn-RS" noProof="0" dirty="0"/>
              <a:t>rast cena usluga generisan je unutrašnjim faktorima, pre svega rastom troškova rada</a:t>
            </a:r>
          </a:p>
          <a:p>
            <a:pPr lvl="1"/>
            <a:endParaRPr lang="sr-Latn-RS" noProof="0" dirty="0"/>
          </a:p>
          <a:p>
            <a:r>
              <a:rPr lang="sr-Latn-RS" noProof="0" dirty="0"/>
              <a:t>Počinju umereno da rastu cene ostalih primarnih proizvoda</a:t>
            </a:r>
          </a:p>
          <a:p>
            <a:pPr lvl="1"/>
            <a:r>
              <a:rPr lang="sr-Latn-RS" noProof="0" dirty="0"/>
              <a:t>opravdano je pooštravanje monetarne politike kako  bi se zaustavilo širenje očekivanja o rastu inflacije </a:t>
            </a:r>
          </a:p>
          <a:p>
            <a:pPr lvl="1"/>
            <a:endParaRPr lang="sr-Latn-RS" noProof="0" dirty="0"/>
          </a:p>
          <a:p>
            <a:r>
              <a:rPr lang="sr-Latn-RS" noProof="0" dirty="0"/>
              <a:t>Podsećanje: pre skoka cena energenata usled rata u Ukrajini cene primarnih proizvoda su imale visok rast</a:t>
            </a:r>
          </a:p>
          <a:p>
            <a:endParaRPr lang="sr-Latn-RS" noProof="0" dirty="0"/>
          </a:p>
          <a:p>
            <a:r>
              <a:rPr lang="sr-Latn-RS" noProof="0" dirty="0"/>
              <a:t>Ocenjujemo da je prognoza NBS (ako ne bude novih šokova) da će inflacija krajem godine dostići oko 5%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4</a:t>
            </a:fld>
            <a:endParaRPr lang="sr-Latn-RS" noProof="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xmlns="" id="{00000000-0008-0000-0100-0000020000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553250949"/>
              </p:ext>
            </p:extLst>
          </p:nvPr>
        </p:nvGraphicFramePr>
        <p:xfrm>
          <a:off x="4648200" y="1454150"/>
          <a:ext cx="4038600" cy="239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51122C74-D4CD-4876-9C58-E0293D7AB5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894924"/>
              </p:ext>
            </p:extLst>
          </p:nvPr>
        </p:nvGraphicFramePr>
        <p:xfrm>
          <a:off x="4653699" y="4267200"/>
          <a:ext cx="4490302" cy="2124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791200" y="4128700"/>
            <a:ext cx="3657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deksi sirovina na svetskom tržištu</a:t>
            </a:r>
          </a:p>
        </p:txBody>
      </p:sp>
    </p:spTree>
    <p:extLst>
      <p:ext uri="{BB962C8B-B14F-4D97-AF65-F5344CB8AC3E}">
        <p14:creationId xmlns:p14="http://schemas.microsoft.com/office/powerpoint/2010/main" val="24097136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5334000" cy="1143000"/>
          </a:xfrm>
        </p:spPr>
        <p:txBody>
          <a:bodyPr/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kurs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55000" lnSpcReduction="20000"/>
          </a:bodyPr>
          <a:lstStyle/>
          <a:p>
            <a:endParaRPr lang="sr-Latn-RS" noProof="0" dirty="0"/>
          </a:p>
          <a:p>
            <a:r>
              <a:rPr lang="sr-Latn-RS" noProof="0" dirty="0"/>
              <a:t>Tražnja za devizama je značajno prevazilazila ponudu pa je NBS u prvih pet meseci ove godine prodala 1.160 miliona evra </a:t>
            </a:r>
          </a:p>
          <a:p>
            <a:endParaRPr lang="sr-Latn-RS" noProof="0" dirty="0"/>
          </a:p>
          <a:p>
            <a:r>
              <a:rPr lang="sr-Latn-RS" noProof="0" dirty="0"/>
              <a:t>Snažnim intervencijama NBS na deviznom tržištu kurs dinara prema evru ostao je stabilan u prethodnom delu godine</a:t>
            </a:r>
          </a:p>
          <a:p>
            <a:endParaRPr lang="sr-Latn-RS" noProof="0" dirty="0"/>
          </a:p>
          <a:p>
            <a:r>
              <a:rPr lang="sr-Latn-RS" noProof="0" dirty="0"/>
              <a:t>Višak tražnje u odnosu na ponudu deviza, uprkos smanjenju deficita u tekućem bilansu, posledica je manjeg priliva kapitala</a:t>
            </a:r>
          </a:p>
          <a:p>
            <a:pPr marL="0" indent="0">
              <a:buNone/>
            </a:pPr>
            <a:endParaRPr lang="sr-Latn-RS" noProof="0" dirty="0"/>
          </a:p>
          <a:p>
            <a:r>
              <a:rPr lang="sr-Latn-RS" noProof="0" dirty="0"/>
              <a:t>Realna vrednost dinara u odnosu na evro u proteklom delu godine ostala je nepromenjena</a:t>
            </a:r>
          </a:p>
          <a:p>
            <a:endParaRPr lang="sr-Latn-RS" noProof="0" dirty="0"/>
          </a:p>
          <a:p>
            <a:r>
              <a:rPr lang="sr-Latn-RS" noProof="0" dirty="0"/>
              <a:t>Rast izvoza, uprkos realnom jačanju dinara i rastu JTR, sugeriše da je </a:t>
            </a:r>
            <a:r>
              <a:rPr lang="sr-Latn-RS" noProof="0" dirty="0" err="1"/>
              <a:t>konkurenst</a:t>
            </a:r>
            <a:r>
              <a:rPr lang="sr-Latn-RS" noProof="0" dirty="0"/>
              <a:t> privrede Srbije porasla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5</a:t>
            </a:fld>
            <a:endParaRPr lang="sr-Latn-RS" noProof="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xmlns="" id="{00000000-0008-0000-0800-0000020000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527244950"/>
              </p:ext>
            </p:extLst>
          </p:nvPr>
        </p:nvGraphicFramePr>
        <p:xfrm>
          <a:off x="4800600" y="2209800"/>
          <a:ext cx="4038600" cy="297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160324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55626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sr-Latn-RS" noProof="0" dirty="0"/>
              <a:t>Fiskalni deficit u prva četiri meseca je iznosio 106,2 </a:t>
            </a:r>
            <a:r>
              <a:rPr lang="sr-Latn-RS" noProof="0" dirty="0" err="1"/>
              <a:t>mlrd</a:t>
            </a:r>
            <a:r>
              <a:rPr lang="sr-Latn-RS" noProof="0" dirty="0"/>
              <a:t> dinara (3%BDP)</a:t>
            </a:r>
          </a:p>
          <a:p>
            <a:pPr lvl="1"/>
            <a:r>
              <a:rPr lang="sr-Latn-RS" noProof="0" dirty="0"/>
              <a:t>deficit je iznad sezonski uobičajenog nivoa zbog isplate rate za rafale</a:t>
            </a:r>
          </a:p>
          <a:p>
            <a:pPr lvl="1"/>
            <a:r>
              <a:rPr lang="sr-Latn-RS" noProof="0" dirty="0"/>
              <a:t>smanjenje akciza za derivate nafte nije značajno povećalo deficit</a:t>
            </a:r>
          </a:p>
          <a:p>
            <a:r>
              <a:rPr lang="sr-Latn-RS" noProof="0" dirty="0"/>
              <a:t>Prema sadašnjim trendovima, deficit na nivou godine će biti u skladu sa planom</a:t>
            </a:r>
          </a:p>
          <a:p>
            <a:pPr lvl="1"/>
            <a:r>
              <a:rPr lang="sr-Latn-RS" noProof="0" dirty="0"/>
              <a:t>Moguće je da predizborno trošenje poveća deficit</a:t>
            </a:r>
          </a:p>
          <a:p>
            <a:r>
              <a:rPr lang="sr-Latn-RS" noProof="0" dirty="0"/>
              <a:t>Prihodi i rashodi države su prve četiri meseca ostvarili snažan  realni rast</a:t>
            </a:r>
          </a:p>
          <a:p>
            <a:pPr lvl="1"/>
            <a:r>
              <a:rPr lang="sr-Latn-RS" noProof="0" dirty="0"/>
              <a:t>prihodi su povećani za 8,2%, a rashodi za 10,9% </a:t>
            </a:r>
          </a:p>
          <a:p>
            <a:r>
              <a:rPr lang="sr-Latn-RS" noProof="0" dirty="0"/>
              <a:t>U narednim mesecima se očekuje sporiji rast prihoda i rashoda</a:t>
            </a:r>
          </a:p>
          <a:p>
            <a:pPr lvl="1"/>
            <a:r>
              <a:rPr lang="sr-Latn-RS" noProof="0" dirty="0" err="1"/>
              <a:t>isčezava</a:t>
            </a:r>
            <a:r>
              <a:rPr lang="sr-Latn-RS" noProof="0" dirty="0"/>
              <a:t> efekat niske osnovice iz prvih meseci prošle godine</a:t>
            </a:r>
          </a:p>
          <a:p>
            <a:pPr lvl="1"/>
            <a:r>
              <a:rPr lang="sr-Latn-RS" noProof="0" dirty="0"/>
              <a:t>nešto veća inflacija smanjiće realnu vrednost prihoda i rashoda </a:t>
            </a:r>
          </a:p>
          <a:p>
            <a:pPr lvl="1"/>
            <a:endParaRPr lang="sr-Latn-R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6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95127782"/>
              </p:ext>
            </p:extLst>
          </p:nvPr>
        </p:nvGraphicFramePr>
        <p:xfrm>
          <a:off x="4572000" y="1557022"/>
          <a:ext cx="4343400" cy="2133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7462133"/>
              </p:ext>
            </p:extLst>
          </p:nvPr>
        </p:nvGraphicFramePr>
        <p:xfrm>
          <a:off x="4572000" y="4040189"/>
          <a:ext cx="4343399" cy="2316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1"/>
          <p:cNvSpPr txBox="1"/>
          <p:nvPr/>
        </p:nvSpPr>
        <p:spPr>
          <a:xfrm>
            <a:off x="5205023" y="3830005"/>
            <a:ext cx="3565998" cy="25542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olidovani prihodi i rashodi, kao % BDP</a:t>
            </a:r>
          </a:p>
        </p:txBody>
      </p:sp>
    </p:spTree>
    <p:extLst>
      <p:ext uri="{BB962C8B-B14F-4D97-AF65-F5344CB8AC3E}">
        <p14:creationId xmlns:p14="http://schemas.microsoft.com/office/powerpoint/2010/main" val="36071331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096000" cy="1143000"/>
          </a:xfrm>
        </p:spPr>
        <p:txBody>
          <a:bodyPr>
            <a:normAutofit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17638"/>
            <a:ext cx="4038600" cy="4708525"/>
          </a:xfrm>
        </p:spPr>
        <p:txBody>
          <a:bodyPr>
            <a:normAutofit fontScale="55000" lnSpcReduction="20000"/>
          </a:bodyPr>
          <a:lstStyle/>
          <a:p>
            <a:r>
              <a:rPr lang="sr-Latn-RS" noProof="0" dirty="0"/>
              <a:t>Visok rast prihoda posledica je snažnog rasta najvažnijih poreskih osnovica</a:t>
            </a:r>
          </a:p>
          <a:p>
            <a:pPr lvl="1"/>
            <a:r>
              <a:rPr lang="sr-Latn-RS" noProof="0" dirty="0"/>
              <a:t>visok rast zarada generiše prihode od poreza i doprinosa</a:t>
            </a:r>
          </a:p>
          <a:p>
            <a:pPr lvl="1"/>
            <a:r>
              <a:rPr lang="sr-Latn-RS" noProof="0" dirty="0"/>
              <a:t>rast potrošnje generiše prihode od PDV, akcize su opale</a:t>
            </a:r>
          </a:p>
          <a:p>
            <a:pPr lvl="1"/>
            <a:r>
              <a:rPr lang="sr-Latn-RS" noProof="0" dirty="0"/>
              <a:t>porez na dobit ima vrlo visok rast, ali njegov bilansni značaj je znatno manji </a:t>
            </a:r>
          </a:p>
          <a:p>
            <a:r>
              <a:rPr lang="sr-Latn-RS" noProof="0" dirty="0"/>
              <a:t>Povećanje rashoda je posledica visokog rasta najvećih bilansnih pozicija: penzija, plata i nabavke roba i usluga</a:t>
            </a:r>
          </a:p>
          <a:p>
            <a:r>
              <a:rPr lang="sr-Latn-RS" noProof="0" dirty="0"/>
              <a:t>Rashodi za javne investicije su ekstremno rasli zbog isplate rate za rafale – očekujemo da će na nivou godine ovi rashodi biti u skladu sa planom </a:t>
            </a:r>
          </a:p>
          <a:p>
            <a:r>
              <a:rPr lang="sr-Latn-RS" noProof="0" dirty="0"/>
              <a:t>Fiskalna politika za sada doprinosi makroekonomskoj stabilnosti, ali postoji prostor za unapređenje njenih strukturnih karakteristika </a:t>
            </a:r>
          </a:p>
          <a:p>
            <a:pPr lvl="1"/>
            <a:r>
              <a:rPr lang="sr-Latn-RS" noProof="0" dirty="0"/>
              <a:t>bolja selekcije projekta i prioriteta</a:t>
            </a:r>
          </a:p>
          <a:p>
            <a:pPr lvl="1"/>
            <a:r>
              <a:rPr lang="sr-Latn-RS" noProof="0" dirty="0"/>
              <a:t>efikasnija realizacije projekata</a:t>
            </a:r>
          </a:p>
          <a:p>
            <a:pPr lvl="1"/>
            <a:r>
              <a:rPr lang="sr-Latn-RS" noProof="0" dirty="0"/>
              <a:t>pravičnija raspodela dohotka i smanjenje siromaštva   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7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372471948"/>
              </p:ext>
            </p:extLst>
          </p:nvPr>
        </p:nvGraphicFramePr>
        <p:xfrm>
          <a:off x="4687164" y="1405854"/>
          <a:ext cx="40386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6582566"/>
              </p:ext>
            </p:extLst>
          </p:nvPr>
        </p:nvGraphicFramePr>
        <p:xfrm>
          <a:off x="4709160" y="3855403"/>
          <a:ext cx="3977640" cy="2270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/>
          <p:nvPr/>
        </p:nvSpPr>
        <p:spPr>
          <a:xfrm>
            <a:off x="5190664" y="3586182"/>
            <a:ext cx="3031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 rast javnih rashoda, </a:t>
            </a:r>
            <a:r>
              <a:rPr lang="sr-Latn-RS" sz="1200" noProof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</a:t>
            </a:r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u %</a:t>
            </a:r>
          </a:p>
        </p:txBody>
      </p:sp>
    </p:spTree>
    <p:extLst>
      <p:ext uri="{BB962C8B-B14F-4D97-AF65-F5344CB8AC3E}">
        <p14:creationId xmlns:p14="http://schemas.microsoft.com/office/powerpoint/2010/main" val="36293246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096000" cy="1143000"/>
          </a:xfrm>
        </p:spPr>
        <p:txBody>
          <a:bodyPr>
            <a:normAutofit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sr-Latn-RS" noProof="0" dirty="0"/>
              <a:t>Javni dug u Q1 stagnira - iznosio je 38,4 </a:t>
            </a:r>
            <a:r>
              <a:rPr lang="sr-Latn-RS" noProof="0" dirty="0" err="1"/>
              <a:t>mlrd</a:t>
            </a:r>
            <a:r>
              <a:rPr lang="sr-Latn-RS" noProof="0" dirty="0"/>
              <a:t>. evra (43,7% BDP-a) </a:t>
            </a:r>
          </a:p>
          <a:p>
            <a:pPr marL="0" indent="0">
              <a:buNone/>
            </a:pPr>
            <a:endParaRPr lang="sr-Latn-RS" noProof="0" dirty="0"/>
          </a:p>
          <a:p>
            <a:r>
              <a:rPr lang="sr-Latn-RS" noProof="0" dirty="0"/>
              <a:t>Javni dug u odnosu na BDP je niži od proseka zemalja CIE i znatno niži nego u razvijenim zemljama</a:t>
            </a:r>
          </a:p>
          <a:p>
            <a:pPr lvl="1"/>
            <a:r>
              <a:rPr lang="sr-Latn-RS" noProof="0" dirty="0"/>
              <a:t>troškovi kamata su visoki i iznose 1,8% BDP, što je slično razvijene zemlje koje imaju duplo veći dug u odnosu na BDP</a:t>
            </a:r>
          </a:p>
          <a:p>
            <a:endParaRPr lang="sr-Latn-RS" noProof="0" dirty="0"/>
          </a:p>
          <a:p>
            <a:r>
              <a:rPr lang="sr-Latn-RS" noProof="0" dirty="0"/>
              <a:t>Država se krajem aprila zadužila za 1,9 </a:t>
            </a:r>
            <a:r>
              <a:rPr lang="sr-Latn-RS" noProof="0" dirty="0" err="1"/>
              <a:t>mlrd</a:t>
            </a:r>
            <a:r>
              <a:rPr lang="sr-Latn-RS" noProof="0" dirty="0"/>
              <a:t> evra i 1,25 </a:t>
            </a:r>
            <a:r>
              <a:rPr lang="sr-Latn-RS" noProof="0" dirty="0" err="1"/>
              <a:t>mlrd</a:t>
            </a:r>
            <a:r>
              <a:rPr lang="sr-Latn-RS" noProof="0" dirty="0"/>
              <a:t> USD</a:t>
            </a:r>
          </a:p>
          <a:p>
            <a:pPr lvl="1"/>
            <a:r>
              <a:rPr lang="sr-Latn-RS" noProof="0" dirty="0"/>
              <a:t>od toga je 871 miliona evra iskorišćeno za prevremeni otkup duga</a:t>
            </a:r>
          </a:p>
          <a:p>
            <a:pPr lvl="1"/>
            <a:r>
              <a:rPr lang="sr-Latn-RS" noProof="0" dirty="0"/>
              <a:t>neto povećanje duga je oko 2,1 </a:t>
            </a:r>
            <a:r>
              <a:rPr lang="sr-Latn-RS" noProof="0" dirty="0" err="1"/>
              <a:t>mlrd</a:t>
            </a:r>
            <a:r>
              <a:rPr lang="sr-Latn-RS" noProof="0" dirty="0"/>
              <a:t> evra ili 2,2% BDP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8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254992691"/>
              </p:ext>
            </p:extLst>
          </p:nvPr>
        </p:nvGraphicFramePr>
        <p:xfrm>
          <a:off x="4797631" y="2509951"/>
          <a:ext cx="388620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621022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44196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sr-Latn-RS" noProof="0" dirty="0" err="1"/>
              <a:t>NBSu</a:t>
            </a:r>
            <a:r>
              <a:rPr lang="sr-Latn-RS" noProof="0" dirty="0"/>
              <a:t> </a:t>
            </a:r>
            <a:r>
              <a:rPr lang="sr-Latn-RS" noProof="0" dirty="0" err="1"/>
              <a:t>protkslom</a:t>
            </a:r>
            <a:r>
              <a:rPr lang="sr-Latn-RS" noProof="0" dirty="0"/>
              <a:t> delu godine nije menjala referentu kamatnu stopu (RKS)</a:t>
            </a:r>
          </a:p>
          <a:p>
            <a:pPr lvl="1"/>
            <a:r>
              <a:rPr lang="sr-Latn-RS" noProof="0" dirty="0"/>
              <a:t>povećanje nije bilo  potrebno jer je RKS visoka</a:t>
            </a:r>
          </a:p>
          <a:p>
            <a:pPr lvl="2"/>
            <a:r>
              <a:rPr lang="sr-Latn-RS" noProof="0" dirty="0"/>
              <a:t>u slučaju novih šokova koji bi inflaciju podigli na 6-7% bilo bi opravdano da se poveća kamatna stopa </a:t>
            </a:r>
          </a:p>
          <a:p>
            <a:pPr lvl="1"/>
            <a:r>
              <a:rPr lang="sr-Latn-RS" noProof="0" dirty="0"/>
              <a:t>smanjenje nije opravdano zbog inflatornih pritisaka</a:t>
            </a:r>
          </a:p>
          <a:p>
            <a:r>
              <a:rPr lang="sr-Latn-RS" noProof="0" dirty="0"/>
              <a:t>NBS je nastavila da snažnim intervencijama na deviznom tržištu </a:t>
            </a:r>
          </a:p>
          <a:p>
            <a:r>
              <a:rPr lang="sr-Latn-RS" noProof="0" dirty="0"/>
              <a:t>Ovakva politika omogućava kreiranje potrebne likvidnosti dok je ponuda deviza veća od tražnje</a:t>
            </a:r>
          </a:p>
          <a:p>
            <a:r>
              <a:rPr lang="sr-Latn-RS" noProof="0" dirty="0"/>
              <a:t>Ako  bi  u dugom periodu ponuda  deviza bila manja od tražnje, prodajom deviza od strane BDP bi se povlačila novčana masa što bi bilo recesion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19</a:t>
            </a:fld>
            <a:endParaRPr lang="sr-Latn-RS" noProof="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xmlns="" id="{00000000-0008-0000-0700-00003FA406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719659382"/>
              </p:ext>
            </p:extLst>
          </p:nvPr>
        </p:nvGraphicFramePr>
        <p:xfrm>
          <a:off x="4648200" y="1600200"/>
          <a:ext cx="4038600" cy="2514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1">
            <a:extLst>
              <a:ext uri="{FF2B5EF4-FFF2-40B4-BE49-F238E27FC236}">
                <a16:creationId xmlns:a16="http://schemas.microsoft.com/office/drawing/2014/main" xmlns="" id="{3BC519C1-B9D8-74C4-49AF-4096E98DD629}"/>
              </a:ext>
            </a:extLst>
          </p:cNvPr>
          <p:cNvSpPr txBox="1"/>
          <p:nvPr/>
        </p:nvSpPr>
        <p:spPr>
          <a:xfrm>
            <a:off x="5486400" y="1180253"/>
            <a:ext cx="2652783" cy="23411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referentna stopa NBS </a:t>
            </a: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8232921"/>
              </p:ext>
            </p:extLst>
          </p:nvPr>
        </p:nvGraphicFramePr>
        <p:xfrm>
          <a:off x="4648200" y="4297363"/>
          <a:ext cx="4038600" cy="1951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105400" y="4191000"/>
            <a:ext cx="32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upovina i prodaja deviza na deviznom tržištu od strane NBS</a:t>
            </a:r>
          </a:p>
        </p:txBody>
      </p:sp>
    </p:spTree>
    <p:extLst>
      <p:ext uri="{BB962C8B-B14F-4D97-AF65-F5344CB8AC3E}">
        <p14:creationId xmlns:p14="http://schemas.microsoft.com/office/powerpoint/2010/main" val="1420237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511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6200"/>
            <a:ext cx="8229600" cy="850106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6018"/>
            <a:ext cx="8229600" cy="4525963"/>
          </a:xfrm>
        </p:spPr>
        <p:txBody>
          <a:bodyPr>
            <a:normAutofit/>
          </a:bodyPr>
          <a:lstStyle/>
          <a:p>
            <a:endParaRPr lang="sr-Latn-RS" sz="24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4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4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noProof="0" dirty="0">
                <a:latin typeface="Arial" panose="020B0604020202020204" pitchFamily="34" charset="0"/>
                <a:cs typeface="Arial" panose="020B0604020202020204" pitchFamily="34" charset="0"/>
              </a:rPr>
              <a:t>Prof. Milojko Arsić:</a:t>
            </a:r>
          </a:p>
          <a:p>
            <a:pPr lvl="1"/>
            <a:r>
              <a:rPr lang="sr-Latn-RS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Noviji makroekonomski trendovi</a:t>
            </a:r>
          </a:p>
          <a:p>
            <a:pPr lvl="1"/>
            <a:r>
              <a:rPr lang="sr-Latn-RS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Ekonomska politika i reforme</a:t>
            </a:r>
          </a:p>
          <a:p>
            <a:pPr marL="457200" lvl="1" indent="0">
              <a:buNone/>
            </a:pPr>
            <a:endParaRPr lang="sr-Latn-RS" sz="2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sr-Latn-RS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CFAE80-1EF3-8DF2-CA2C-5D40DCDD3644}"/>
              </a:ext>
            </a:extLst>
          </p:cNvPr>
          <p:cNvSpPr txBox="1"/>
          <p:nvPr/>
        </p:nvSpPr>
        <p:spPr>
          <a:xfrm>
            <a:off x="8659091" y="88669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r-Latn-RS" noProof="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0960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ditna aktivnost banaka i novčana masa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774953"/>
          </a:xfrm>
        </p:spPr>
        <p:txBody>
          <a:bodyPr>
            <a:normAutofit fontScale="62500" lnSpcReduction="20000"/>
          </a:bodyPr>
          <a:lstStyle/>
          <a:p>
            <a:r>
              <a:rPr lang="sr-Latn-RS" noProof="0" dirty="0"/>
              <a:t>Tokom Q1 značajno su povećani krediti banaka </a:t>
            </a:r>
          </a:p>
          <a:p>
            <a:pPr lvl="1"/>
            <a:r>
              <a:rPr lang="sr-Latn-RS" noProof="0" dirty="0"/>
              <a:t>stanovništvu  je odobreno 610 miliona evra </a:t>
            </a:r>
          </a:p>
          <a:p>
            <a:pPr lvl="1"/>
            <a:r>
              <a:rPr lang="sr-Latn-RS" noProof="0" dirty="0"/>
              <a:t>privredi privredi 100  miliona evra</a:t>
            </a:r>
          </a:p>
          <a:p>
            <a:pPr lvl="2"/>
            <a:r>
              <a:rPr lang="sr-Latn-RS" noProof="0" dirty="0"/>
              <a:t>privreda se zadužila u inostranstvu za 246 miliona evra</a:t>
            </a:r>
          </a:p>
          <a:p>
            <a:pPr lvl="1"/>
            <a:r>
              <a:rPr lang="sr-Latn-RS" noProof="0" dirty="0"/>
              <a:t>povećani su plasmani u REPO hartije za 91 miliona evra </a:t>
            </a:r>
          </a:p>
          <a:p>
            <a:r>
              <a:rPr lang="sr-Latn-RS" noProof="0" dirty="0"/>
              <a:t>Uzimajući u obzir uticaj sezonskih faktora rast kreditne aktivnosti  u Q1 je solidan  </a:t>
            </a:r>
          </a:p>
          <a:p>
            <a:r>
              <a:rPr lang="sr-Latn-RS" noProof="0" dirty="0"/>
              <a:t>Loši krediti stagniraju, ali opadaju u odnosu na ukupne kredite</a:t>
            </a:r>
          </a:p>
          <a:p>
            <a:r>
              <a:rPr lang="sr-Latn-RS" noProof="0" dirty="0"/>
              <a:t>Šira novčana masa M2 u Q1 povećana je za 6,2% realno </a:t>
            </a:r>
            <a:r>
              <a:rPr lang="sr-Latn-RS" noProof="0" dirty="0" err="1"/>
              <a:t>međugod</a:t>
            </a:r>
            <a:r>
              <a:rPr lang="sr-Latn-RS" noProof="0" dirty="0"/>
              <a:t>. </a:t>
            </a:r>
          </a:p>
          <a:p>
            <a:pPr lvl="1"/>
            <a:r>
              <a:rPr lang="sr-Latn-RS" noProof="0" dirty="0"/>
              <a:t>devizni depoziti su najviše doprineli rastu M2</a:t>
            </a:r>
          </a:p>
          <a:p>
            <a:pPr lvl="1"/>
            <a:r>
              <a:rPr lang="sr-Latn-RS" noProof="0" dirty="0"/>
              <a:t>na visok rast M2 je uticala i niska osnovica u Q1 prošle godi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20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459456399"/>
              </p:ext>
            </p:extLst>
          </p:nvPr>
        </p:nvGraphicFramePr>
        <p:xfrm>
          <a:off x="4648200" y="1524000"/>
          <a:ext cx="4038600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4162482"/>
              </p:ext>
            </p:extLst>
          </p:nvPr>
        </p:nvGraphicFramePr>
        <p:xfrm>
          <a:off x="4724400" y="4317753"/>
          <a:ext cx="3962400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28669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0960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matne stope na kredite banaka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sr-Latn-RS" sz="20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ne stope na dinarske kredite dostižu maksimum u Q1...</a:t>
            </a:r>
          </a:p>
          <a:p>
            <a:r>
              <a:rPr lang="sr-Latn-RS" sz="20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..potom padaju usled ubrzavanja inflacije </a:t>
            </a:r>
          </a:p>
          <a:p>
            <a:r>
              <a:rPr lang="sr-Latn-RS" sz="20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amatne stope na indeksirane kredite za investicije su opadale, dok su kamatne stope  na kredite za obrtna sredstva i stambene kredite stagnirale</a:t>
            </a:r>
          </a:p>
          <a:p>
            <a:r>
              <a:rPr lang="sr-Latn-RS" sz="20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cenjuje se da povećanje RKS od strane ECB neće značajnije uticati na kamatne stope u Srbiji</a:t>
            </a:r>
          </a:p>
          <a:p>
            <a:pPr lvl="1"/>
            <a:r>
              <a:rPr lang="sr-Latn-RS" sz="16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većanje je malo (0,25 </a:t>
            </a:r>
            <a:r>
              <a:rPr lang="sr-Latn-RS" sz="16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p</a:t>
            </a:r>
            <a:r>
              <a:rPr lang="sr-Latn-RS" sz="16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lvl="1"/>
            <a:r>
              <a:rPr lang="sr-Latn-RS" sz="16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većanje je unapred </a:t>
            </a:r>
            <a:r>
              <a:rPr lang="sr-Latn-RS" sz="16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gradjeno</a:t>
            </a:r>
            <a:r>
              <a:rPr lang="sr-Latn-RS" sz="16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 </a:t>
            </a:r>
            <a:r>
              <a:rPr lang="sr-Latn-RS" sz="16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uribor</a:t>
            </a:r>
            <a:r>
              <a:rPr lang="sr-Latn-RS" sz="16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  <a:p>
            <a:pPr marL="400050"/>
            <a:r>
              <a:rPr lang="sr-Latn-RS" sz="20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 očekuje se da će ECB uskoro dodatno povećati RKS,</a:t>
            </a:r>
          </a:p>
          <a:p>
            <a:pPr marL="800100" lvl="1"/>
            <a:r>
              <a:rPr lang="sr-Latn-RS" sz="16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bi se moglo dogoditi ako bi se inflacija u </a:t>
            </a:r>
            <a:r>
              <a:rPr lang="sr-Latn-RS" sz="16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vrozoni</a:t>
            </a:r>
            <a:r>
              <a:rPr lang="sr-Latn-RS" sz="16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odatno ubrzala </a:t>
            </a:r>
          </a:p>
          <a:p>
            <a:endParaRPr lang="sr-Latn-RS" sz="20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21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702508991"/>
              </p:ext>
            </p:extLst>
          </p:nvPr>
        </p:nvGraphicFramePr>
        <p:xfrm>
          <a:off x="4648200" y="1600201"/>
          <a:ext cx="40386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3693064"/>
              </p:ext>
            </p:extLst>
          </p:nvPr>
        </p:nvGraphicFramePr>
        <p:xfrm>
          <a:off x="4648200" y="4038601"/>
          <a:ext cx="4120514" cy="2317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7"/>
          <p:cNvSpPr/>
          <p:nvPr/>
        </p:nvSpPr>
        <p:spPr>
          <a:xfrm>
            <a:off x="5029200" y="3724681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ne kamatne stope na </a:t>
            </a:r>
            <a:r>
              <a:rPr lang="sr-Latn-RS" sz="12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ndeskirane</a:t>
            </a:r>
            <a:r>
              <a:rPr lang="sr-Latn-RS" sz="12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kredite, u %</a:t>
            </a:r>
          </a:p>
        </p:txBody>
      </p:sp>
    </p:spTree>
    <p:extLst>
      <p:ext uri="{BB962C8B-B14F-4D97-AF65-F5344CB8AC3E}">
        <p14:creationId xmlns:p14="http://schemas.microsoft.com/office/powerpoint/2010/main" val="2401600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633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" r="66043"/>
          <a:stretch/>
        </p:blipFill>
        <p:spPr>
          <a:xfrm>
            <a:off x="4267200" y="6035740"/>
            <a:ext cx="1085681" cy="6159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457198"/>
            <a:ext cx="1778943" cy="492197"/>
          </a:xfrm>
          <a:prstGeom prst="rect">
            <a:avLst/>
          </a:prstGeom>
        </p:spPr>
      </p:pic>
      <p:pic>
        <p:nvPicPr>
          <p:cNvPr id="7" name="Picture 6" descr="Ekof logo - bela pozadina horizontalno, latinica.png"/>
          <p:cNvPicPr/>
          <p:nvPr/>
        </p:nvPicPr>
        <p:blipFill>
          <a:blip r:embed="rId8" cstate="print">
            <a:lum bright="70000" contrast="-70000"/>
          </a:blip>
          <a:stretch>
            <a:fillRect/>
          </a:stretch>
        </p:blipFill>
        <p:spPr>
          <a:xfrm>
            <a:off x="286055" y="335791"/>
            <a:ext cx="3289778" cy="735013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559742" y="1129820"/>
            <a:ext cx="8229600" cy="3657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r-Latn-RS" sz="36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5400" noProof="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sr-Latn-RS" sz="5400" b="1" noProof="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vala na pažnji!</a:t>
            </a:r>
          </a:p>
        </p:txBody>
      </p:sp>
    </p:spTree>
    <p:extLst>
      <p:ext uri="{BB962C8B-B14F-4D97-AF65-F5344CB8AC3E}">
        <p14:creationId xmlns:p14="http://schemas.microsoft.com/office/powerpoint/2010/main" val="3744351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106" y="227013"/>
            <a:ext cx="6241473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novni makroekonomski trendovi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sr-Latn-RS" noProof="0" dirty="0"/>
              <a:t>Privreda Srbije u prethodnom delu godine ostvarila mešovite rezultate</a:t>
            </a:r>
          </a:p>
          <a:p>
            <a:pPr lvl="1"/>
            <a:r>
              <a:rPr lang="sr-Latn-RS" noProof="0" dirty="0"/>
              <a:t>rast privrede je relativno visok u postojećim okolnostima</a:t>
            </a:r>
          </a:p>
          <a:p>
            <a:pPr lvl="1"/>
            <a:r>
              <a:rPr lang="sr-Latn-RS" noProof="0" dirty="0"/>
              <a:t>spoljnotrgovinski deficit je smanjen, ali postoji odliv kapitala i veliki pad stranih investicija</a:t>
            </a:r>
          </a:p>
          <a:p>
            <a:pPr lvl="1"/>
            <a:r>
              <a:rPr lang="sr-Latn-RS" noProof="0" dirty="0"/>
              <a:t>zaposlenost blago opada, nezaposlenost raste, realne zarade snažno rastu</a:t>
            </a:r>
          </a:p>
          <a:p>
            <a:pPr lvl="1"/>
            <a:r>
              <a:rPr lang="sr-Latn-RS" noProof="0" dirty="0"/>
              <a:t>ubrzanje inflacije je umereno </a:t>
            </a:r>
          </a:p>
          <a:p>
            <a:r>
              <a:rPr lang="sr-Latn-RS" noProof="0" dirty="0"/>
              <a:t>Rezultati su ostvareni pod uticajem velikog broja vanrednih okolnosti, tako da ne odražavaju stanje i perspektive privrede Srbije</a:t>
            </a:r>
          </a:p>
          <a:p>
            <a:r>
              <a:rPr lang="sr-Latn-RS" noProof="0" dirty="0"/>
              <a:t>Još uvek nije izvesno kako će se razrešiti vanredne okolnosti (rat na Bliskom Istoku, NIS, CBAM, kvote EU za </a:t>
            </a:r>
            <a:r>
              <a:rPr lang="sr-Latn-RS" noProof="0" dirty="0" err="1"/>
              <a:t>gvoždje</a:t>
            </a:r>
            <a:r>
              <a:rPr lang="sr-Latn-RS" noProof="0" dirty="0"/>
              <a:t> i čelik, ...) </a:t>
            </a:r>
          </a:p>
          <a:p>
            <a:pPr lvl="1"/>
            <a:r>
              <a:rPr lang="sr-Latn-RS" noProof="0" dirty="0" err="1"/>
              <a:t>medjunarodna</a:t>
            </a:r>
            <a:r>
              <a:rPr lang="sr-Latn-RS" noProof="0" dirty="0"/>
              <a:t> pozicija Srbije je pogoršana, što nije dobro za privredu</a:t>
            </a:r>
          </a:p>
          <a:p>
            <a:r>
              <a:rPr lang="sr-Latn-RS" noProof="0" dirty="0"/>
              <a:t>Reakcija fiskalne i monetarne politike na skok cene nafte i ubrzanje inflacije bila je uglavnom adekvatna </a:t>
            </a:r>
          </a:p>
          <a:p>
            <a:r>
              <a:rPr lang="sr-Latn-RS" noProof="0" dirty="0"/>
              <a:t>Vlada za sada nema odgovor na sistemske  (slabe institucije) i razvojne (niske privatne investicije, pad SDI) probleme koji ugrožavaju budući razvoj privrede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3</a:t>
            </a:fld>
            <a:endParaRPr lang="sr-Latn-RS" noProof="0" dirty="0"/>
          </a:p>
        </p:txBody>
      </p:sp>
    </p:spTree>
    <p:extLst>
      <p:ext uri="{BB962C8B-B14F-4D97-AF65-F5344CB8AC3E}">
        <p14:creationId xmlns:p14="http://schemas.microsoft.com/office/powerpoint/2010/main" val="3117585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255" y="171957"/>
            <a:ext cx="6543963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kratkoročni trendovi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3255" y="1473055"/>
            <a:ext cx="4038600" cy="4525963"/>
          </a:xfrm>
        </p:spPr>
        <p:txBody>
          <a:bodyPr>
            <a:normAutofit fontScale="70000" lnSpcReduction="20000"/>
          </a:bodyPr>
          <a:lstStyle/>
          <a:p>
            <a:r>
              <a:rPr lang="sr-Latn-RS" noProof="0" dirty="0"/>
              <a:t>BDP  Srbije u Q1 je porastao za 3,2% </a:t>
            </a:r>
            <a:r>
              <a:rPr lang="sr-Latn-RS" noProof="0" dirty="0" err="1"/>
              <a:t>međugod</a:t>
            </a:r>
            <a:r>
              <a:rPr lang="sr-Latn-RS" noProof="0" dirty="0"/>
              <a:t>., što je među </a:t>
            </a:r>
            <a:r>
              <a:rPr lang="sr-Latn-RS" noProof="0" dirty="0" err="1"/>
              <a:t>najavišim</a:t>
            </a:r>
            <a:r>
              <a:rPr lang="sr-Latn-RS" noProof="0" dirty="0"/>
              <a:t> stopama rasta u Evropi</a:t>
            </a:r>
          </a:p>
          <a:p>
            <a:r>
              <a:rPr lang="sr-Latn-RS" noProof="0" dirty="0"/>
              <a:t>Na visoku stopu rasta je uticalo je poređenje sa niskom osnovicom iz Q1 2025. </a:t>
            </a:r>
          </a:p>
          <a:p>
            <a:pPr lvl="1"/>
            <a:r>
              <a:rPr lang="sr-Latn-RS" noProof="0" dirty="0" err="1"/>
              <a:t>desezonirani</a:t>
            </a:r>
            <a:r>
              <a:rPr lang="sr-Latn-RS" noProof="0" dirty="0"/>
              <a:t> rast u Q1 u odnosu na prethodne kvartal iznosi 0,2%</a:t>
            </a:r>
          </a:p>
          <a:p>
            <a:endParaRPr lang="sr-Latn-RS" noProof="0" dirty="0"/>
          </a:p>
          <a:p>
            <a:r>
              <a:rPr lang="sr-Latn-RS" noProof="0" dirty="0"/>
              <a:t>Osim niske osnovice na rezultat u Q1 uticao je veliki broj neregularnih faktora</a:t>
            </a:r>
          </a:p>
          <a:p>
            <a:pPr lvl="1"/>
            <a:r>
              <a:rPr lang="sr-Latn-RS" noProof="0" dirty="0"/>
              <a:t>sankcije NIS-u u januaru</a:t>
            </a:r>
          </a:p>
          <a:p>
            <a:pPr lvl="1"/>
            <a:r>
              <a:rPr lang="sr-Latn-RS" noProof="0" dirty="0"/>
              <a:t>skok cena nafte od marta,</a:t>
            </a:r>
          </a:p>
          <a:p>
            <a:pPr lvl="1"/>
            <a:r>
              <a:rPr lang="sr-Latn-RS" noProof="0" dirty="0"/>
              <a:t>uvođenje CBAM</a:t>
            </a:r>
          </a:p>
          <a:p>
            <a:pPr marL="457200" lvl="1" indent="0">
              <a:buNone/>
            </a:pPr>
            <a:endParaRPr lang="sr-Latn-RS" noProof="0" dirty="0"/>
          </a:p>
          <a:p>
            <a:pPr lvl="1"/>
            <a:endParaRPr lang="sr-Latn-RS" noProof="0" dirty="0"/>
          </a:p>
          <a:p>
            <a:endParaRPr lang="sr-Latn-R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4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634899749"/>
              </p:ext>
            </p:extLst>
          </p:nvPr>
        </p:nvGraphicFramePr>
        <p:xfrm>
          <a:off x="4495799" y="1417638"/>
          <a:ext cx="4354945" cy="2697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17796" y="6538912"/>
            <a:ext cx="1676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100" noProof="0" dirty="0" err="1"/>
              <a:t>Izvor:Eurostat</a:t>
            </a:r>
            <a:endParaRPr lang="sr-Latn-RS" sz="1100" noProof="0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2986801"/>
              </p:ext>
            </p:extLst>
          </p:nvPr>
        </p:nvGraphicFramePr>
        <p:xfrm>
          <a:off x="4331855" y="4206512"/>
          <a:ext cx="4572000" cy="2356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991D994-7224-0B78-65F8-D86E65984B6E}"/>
              </a:ext>
            </a:extLst>
          </p:cNvPr>
          <p:cNvSpPr txBox="1"/>
          <p:nvPr/>
        </p:nvSpPr>
        <p:spPr>
          <a:xfrm>
            <a:off x="2396836" y="8589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r-Latn-RS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48EEBA4-ED83-F319-101A-D876727FD238}"/>
              </a:ext>
            </a:extLst>
          </p:cNvPr>
          <p:cNvSpPr txBox="1"/>
          <p:nvPr/>
        </p:nvSpPr>
        <p:spPr>
          <a:xfrm>
            <a:off x="1967345" y="969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r-Latn-RS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21C24B5-DE64-95DF-715C-58C6A3136D75}"/>
              </a:ext>
            </a:extLst>
          </p:cNvPr>
          <p:cNvSpPr txBox="1"/>
          <p:nvPr/>
        </p:nvSpPr>
        <p:spPr>
          <a:xfrm>
            <a:off x="8395855" y="360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r-Latn-RS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ADA4263-19A8-27E6-EBCF-873D5684B91B}"/>
              </a:ext>
            </a:extLst>
          </p:cNvPr>
          <p:cNvSpPr txBox="1"/>
          <p:nvPr/>
        </p:nvSpPr>
        <p:spPr>
          <a:xfrm>
            <a:off x="7924800" y="4017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r-Latn-RS" noProof="0" dirty="0"/>
          </a:p>
        </p:txBody>
      </p:sp>
    </p:spTree>
    <p:extLst>
      <p:ext uri="{BB962C8B-B14F-4D97-AF65-F5344CB8AC3E}">
        <p14:creationId xmlns:p14="http://schemas.microsoft.com/office/powerpoint/2010/main" val="2146293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3246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kratkoročni trendovi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876800"/>
          </a:xfrm>
        </p:spPr>
        <p:txBody>
          <a:bodyPr>
            <a:normAutofit fontScale="70000" lnSpcReduction="20000"/>
          </a:bodyPr>
          <a:lstStyle/>
          <a:p>
            <a:r>
              <a:rPr lang="sr-Latn-RS" noProof="0" dirty="0"/>
              <a:t>Privredna aktivnost ispoljava velike varijacija po delatnostima</a:t>
            </a:r>
          </a:p>
          <a:p>
            <a:pPr lvl="1"/>
            <a:r>
              <a:rPr lang="sr-Latn-RS" noProof="0" dirty="0"/>
              <a:t>rast je prisutan u poljoprivredi i uslugama</a:t>
            </a:r>
          </a:p>
          <a:p>
            <a:pPr lvl="1"/>
            <a:r>
              <a:rPr lang="sr-Latn-RS" noProof="0" dirty="0"/>
              <a:t>pad u industriji i </a:t>
            </a:r>
            <a:r>
              <a:rPr lang="sr-Latn-RS" noProof="0" dirty="0" err="1"/>
              <a:t>gradjevinarstvu</a:t>
            </a:r>
            <a:endParaRPr lang="sr-Latn-RS" noProof="0" dirty="0"/>
          </a:p>
          <a:p>
            <a:endParaRPr lang="sr-Latn-RS" noProof="0" dirty="0"/>
          </a:p>
          <a:p>
            <a:r>
              <a:rPr lang="sr-Latn-RS" noProof="0" dirty="0"/>
              <a:t>U narednom delu godine očekujemo oporavak industrije i građevinarstva, ali i sporiji rast usluga zbog inflacije </a:t>
            </a:r>
          </a:p>
          <a:p>
            <a:endParaRPr lang="sr-Latn-RS" noProof="0" dirty="0"/>
          </a:p>
          <a:p>
            <a:r>
              <a:rPr lang="sr-Latn-RS" noProof="0" dirty="0"/>
              <a:t>Nosioci rasta u Q1 bili su tekuća privatna i državna potrošnja i izvoz, dok su investicije stagnirale</a:t>
            </a:r>
          </a:p>
          <a:p>
            <a:pPr lvl="1"/>
            <a:r>
              <a:rPr lang="sr-Latn-RS" noProof="0" dirty="0"/>
              <a:t>stagnacija investicija -  pale su SDI, a domaće privatne investicije nisu povećane</a:t>
            </a:r>
          </a:p>
          <a:p>
            <a:pPr marL="457200" lvl="1" indent="0">
              <a:buNone/>
            </a:pPr>
            <a:endParaRPr lang="sr-Latn-RS" noProof="0" dirty="0"/>
          </a:p>
          <a:p>
            <a:pPr lvl="1"/>
            <a:endParaRPr lang="sr-Latn-R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5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182833246"/>
              </p:ext>
            </p:extLst>
          </p:nvPr>
        </p:nvGraphicFramePr>
        <p:xfrm>
          <a:off x="4648200" y="1600201"/>
          <a:ext cx="4038600" cy="2362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8093656"/>
              </p:ext>
            </p:extLst>
          </p:nvPr>
        </p:nvGraphicFramePr>
        <p:xfrm>
          <a:off x="4495800" y="408887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89879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248400" cy="1143000"/>
          </a:xfrm>
        </p:spPr>
        <p:txBody>
          <a:bodyPr>
            <a:normAutofit fontScale="90000"/>
          </a:bodyPr>
          <a:lstStyle/>
          <a:p>
            <a:r>
              <a:rPr lang="sr-Latn-RS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kratkoročni trendovi</a:t>
            </a:r>
            <a:endParaRPr lang="sr-Latn-R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sr-Latn-RS" noProof="0" dirty="0"/>
              <a:t>U Q1 svi važniji segmenti industrijske proizvodnje su opadali</a:t>
            </a:r>
          </a:p>
          <a:p>
            <a:endParaRPr lang="sr-Latn-RS" noProof="0" dirty="0"/>
          </a:p>
          <a:p>
            <a:r>
              <a:rPr lang="sr-Latn-RS" noProof="0" dirty="0"/>
              <a:t>U aprilu industrija se oporavlja  (</a:t>
            </a:r>
            <a:r>
              <a:rPr lang="sr-Latn-RS" noProof="0" dirty="0" err="1"/>
              <a:t>Stelantis</a:t>
            </a:r>
            <a:r>
              <a:rPr lang="sr-Latn-RS" noProof="0" dirty="0"/>
              <a:t>, NIS), ali je velika neizvesnost u pogledu kretanja tokom godine (NIS, CBAM, kvote za železo, stagnacije nemačke auto industrije i dr.) </a:t>
            </a:r>
          </a:p>
          <a:p>
            <a:endParaRPr lang="sr-Latn-RS" noProof="0" dirty="0"/>
          </a:p>
          <a:p>
            <a:r>
              <a:rPr lang="sr-Latn-RS" noProof="0" dirty="0"/>
              <a:t>U EU i CIE, industrija stagnira, uz relativno velike varijacije po zemljam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6</a:t>
            </a:fld>
            <a:endParaRPr lang="sr-Latn-RS" noProof="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991394391"/>
              </p:ext>
            </p:extLst>
          </p:nvPr>
        </p:nvGraphicFramePr>
        <p:xfrm>
          <a:off x="4648200" y="1600201"/>
          <a:ext cx="4038600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0849792"/>
              </p:ext>
            </p:extLst>
          </p:nvPr>
        </p:nvGraphicFramePr>
        <p:xfrm>
          <a:off x="4648200" y="4357067"/>
          <a:ext cx="4114800" cy="1999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92327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sz="4000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ktiva rasta BD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sr-Latn-RS" noProof="0" dirty="0"/>
              <a:t>Izgradnja objekata u okviru EXPO-a će ubrzati rast BDP, kao i rast proizvodnje u </a:t>
            </a:r>
            <a:r>
              <a:rPr lang="sr-Latn-RS" noProof="0" dirty="0" err="1"/>
              <a:t>Stelantisu</a:t>
            </a:r>
            <a:endParaRPr lang="sr-Latn-RS" noProof="0" dirty="0"/>
          </a:p>
          <a:p>
            <a:endParaRPr lang="sr-Latn-RS" noProof="0" dirty="0"/>
          </a:p>
          <a:p>
            <a:r>
              <a:rPr lang="sr-Latn-RS" noProof="0" dirty="0"/>
              <a:t>Na usporavanje rasta može da utiče</a:t>
            </a:r>
          </a:p>
          <a:p>
            <a:pPr lvl="1"/>
            <a:r>
              <a:rPr lang="sr-Latn-RS" noProof="0" dirty="0"/>
              <a:t>eventualni ponovni skok cena energenta,</a:t>
            </a:r>
          </a:p>
          <a:p>
            <a:pPr lvl="1"/>
            <a:r>
              <a:rPr lang="sr-Latn-RS" noProof="0" dirty="0" err="1"/>
              <a:t>uvodjenje</a:t>
            </a:r>
            <a:r>
              <a:rPr lang="sr-Latn-RS" noProof="0" dirty="0"/>
              <a:t> kvote za izvoz gvožđa i čelika u EU</a:t>
            </a:r>
          </a:p>
          <a:p>
            <a:pPr lvl="1"/>
            <a:r>
              <a:rPr lang="sr-Latn-RS" noProof="0" dirty="0"/>
              <a:t>eventualno ponovno </a:t>
            </a:r>
            <a:r>
              <a:rPr lang="sr-Latn-RS" noProof="0" dirty="0" err="1"/>
              <a:t>uvodjenje</a:t>
            </a:r>
            <a:r>
              <a:rPr lang="sr-Latn-RS" noProof="0" dirty="0"/>
              <a:t> sankcija NIS-u</a:t>
            </a:r>
          </a:p>
          <a:p>
            <a:pPr lvl="1"/>
            <a:r>
              <a:rPr lang="sr-Latn-RS" noProof="0" dirty="0"/>
              <a:t>suša tokom letnjih meseci može da smanji rast poljoprivredne proizvodnje i rad hidroelektrana</a:t>
            </a:r>
          </a:p>
          <a:p>
            <a:pPr lvl="1"/>
            <a:endParaRPr lang="sr-Latn-RS" noProof="0" dirty="0"/>
          </a:p>
          <a:p>
            <a:r>
              <a:rPr lang="sr-Latn-RS" noProof="0" dirty="0"/>
              <a:t>U srednjem roku osnovna ograničenja za rast su u slabim institucijama, mogući pad ukupnih investicij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7</a:t>
            </a:fld>
            <a:endParaRPr lang="sr-Latn-RS" noProof="0" dirty="0"/>
          </a:p>
        </p:txBody>
      </p:sp>
    </p:spTree>
    <p:extLst>
      <p:ext uri="{BB962C8B-B14F-4D97-AF65-F5344CB8AC3E}">
        <p14:creationId xmlns:p14="http://schemas.microsoft.com/office/powerpoint/2010/main" val="26702968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324600" cy="1143000"/>
          </a:xfrm>
        </p:spPr>
        <p:txBody>
          <a:bodyPr>
            <a:normAutofit fontScale="90000"/>
          </a:bodyPr>
          <a:lstStyle/>
          <a:p>
            <a:r>
              <a:rPr lang="sr-Latn-RS" sz="3600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: zaposlenost i nezaposleno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1776"/>
            <a:ext cx="4038600" cy="4854574"/>
          </a:xfrm>
        </p:spPr>
        <p:txBody>
          <a:bodyPr>
            <a:normAutofit fontScale="85000" lnSpcReduction="20000"/>
          </a:bodyPr>
          <a:lstStyle/>
          <a:p>
            <a:r>
              <a:rPr lang="sr-Latn-R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 Q1 2026. u odnosu na isti kvartal prethodne godine smanjene su stope zaposlenosti i nezaposlenosti</a:t>
            </a:r>
          </a:p>
          <a:p>
            <a:pPr lvl="1"/>
            <a:r>
              <a:rPr lang="sr-Latn-RS" sz="14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anjenje zaposlenosti je posledica otpuštanja u radno intenzivnim delatnostima i delatnostima u kojima je rad supstituisan tehnologijom</a:t>
            </a:r>
          </a:p>
          <a:p>
            <a:pPr lvl="1"/>
            <a:r>
              <a:rPr lang="sr-Latn-RS" sz="14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anjenje stope nezaposlenosti je pod dominantnim uticajem demografskih faktora</a:t>
            </a:r>
          </a:p>
          <a:p>
            <a:endParaRPr lang="sr-Latn-RS" sz="18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sr-Latn-R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opa nezaposlenosti je veća nego u evropskim zemljama kao rezultat strukturne nezaposlenosti</a:t>
            </a:r>
          </a:p>
          <a:p>
            <a:endParaRPr lang="sr-Latn-RS" sz="18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sr-Latn-R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a tržište rada Evropi u narednim godinama ključni uticaj će imati demografski faktori i razvoj tehnologija kojima se rad </a:t>
            </a:r>
            <a:r>
              <a:rPr lang="sr-Latn-RS" sz="1800" noProof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usptituiše</a:t>
            </a:r>
            <a:r>
              <a:rPr lang="sr-Latn-R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kapitalom  (AI, roboti i dr.)</a:t>
            </a:r>
          </a:p>
          <a:p>
            <a:endParaRPr lang="sr-Latn-RS" sz="18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sr-Latn-R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miranje novih poslova je teško predvideti </a:t>
            </a:r>
          </a:p>
          <a:p>
            <a:endParaRPr lang="sr-Latn-RS" sz="18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sr-Latn-R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 bi se održala zaposlenost u narednim godinama, potrebno je da se ponuda rada (kvalifikacije, znanja i veštine) prilagode izmenjenoj tražnji  </a:t>
            </a:r>
          </a:p>
          <a:p>
            <a:pPr lvl="1"/>
            <a:endParaRPr lang="sr-Latn-RS" sz="1400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sr-Latn-R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8</a:t>
            </a:fld>
            <a:endParaRPr lang="sr-Latn-RS" noProof="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xmlns="" id="{78C03119-B026-42DC-AEA1-D08BB5F432B9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142934278"/>
              </p:ext>
            </p:extLst>
          </p:nvPr>
        </p:nvGraphicFramePr>
        <p:xfrm>
          <a:off x="4814455" y="1501776"/>
          <a:ext cx="4038600" cy="2209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7751659"/>
              </p:ext>
            </p:extLst>
          </p:nvPr>
        </p:nvGraphicFramePr>
        <p:xfrm>
          <a:off x="4281055" y="379571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541809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324600" cy="1143000"/>
          </a:xfrm>
        </p:spPr>
        <p:txBody>
          <a:bodyPr>
            <a:normAutofit fontScale="90000"/>
          </a:bodyPr>
          <a:lstStyle/>
          <a:p>
            <a:r>
              <a:rPr lang="sr-Latn-RS" sz="4000" noProof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</a:t>
            </a:r>
            <a:r>
              <a:rPr lang="sr-Latn-RS" sz="4000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da: zarade i produktivno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sr-Latn-RS" noProof="0" dirty="0"/>
              <a:t>U prvom kvartalu nastavljen je snažan realni rast zarada još brži rast zarada u evrima</a:t>
            </a:r>
          </a:p>
          <a:p>
            <a:pPr lvl="1"/>
            <a:r>
              <a:rPr lang="sr-Latn-RS" noProof="0" dirty="0"/>
              <a:t>realne zarade imaju visok rast u većem broju zemalja CIE</a:t>
            </a:r>
          </a:p>
          <a:p>
            <a:endParaRPr lang="sr-Latn-RS" noProof="0" dirty="0"/>
          </a:p>
          <a:p>
            <a:r>
              <a:rPr lang="sr-Latn-RS" noProof="0" dirty="0"/>
              <a:t>Zarade i dalje rastu brže od produktivnosti, rastu jedinični troškovi rada</a:t>
            </a:r>
          </a:p>
          <a:p>
            <a:pPr lvl="1"/>
            <a:r>
              <a:rPr lang="sr-Latn-RS" noProof="0" dirty="0"/>
              <a:t>Snažan rast izvoza, uprkos rastu zarada i JTR, ukazuje na mogućnost da su u Srbiji, ali i drugim zemljama  CIE  zarade pre 10-tak godina bile potcenjene</a:t>
            </a:r>
          </a:p>
          <a:p>
            <a:pPr lvl="1"/>
            <a:endParaRPr lang="sr-Latn-R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sr-Latn-RS" noProof="0" smtClean="0"/>
              <a:pPr/>
              <a:t>9</a:t>
            </a:fld>
            <a:endParaRPr lang="sr-Latn-RS" noProof="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EC435F3C-D617-46A8-AAF8-A618B9CC66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3038404"/>
              </p:ext>
            </p:extLst>
          </p:nvPr>
        </p:nvGraphicFramePr>
        <p:xfrm>
          <a:off x="4654893" y="4247957"/>
          <a:ext cx="4253813" cy="2270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ontent Placeholder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22763628"/>
              </p:ext>
            </p:extLst>
          </p:nvPr>
        </p:nvGraphicFramePr>
        <p:xfrm>
          <a:off x="4800600" y="1600200"/>
          <a:ext cx="3919194" cy="2438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33518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807</TotalTime>
  <Words>2205</Words>
  <Application>Microsoft Office PowerPoint</Application>
  <PresentationFormat>On-screen Show (4:3)</PresentationFormat>
  <Paragraphs>270</Paragraphs>
  <Slides>2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Arial Narrow</vt:lpstr>
      <vt:lpstr>Calibri</vt:lpstr>
      <vt:lpstr>Times New Roman</vt:lpstr>
      <vt:lpstr>Office Theme</vt:lpstr>
      <vt:lpstr>think-cell Slide</vt:lpstr>
      <vt:lpstr>Prezentacija QM84</vt:lpstr>
      <vt:lpstr>Sadržaj</vt:lpstr>
      <vt:lpstr>Osnovni makroekonomski trendovi</vt:lpstr>
      <vt:lpstr>Privredna aktivnost – kratkoročni trendovi</vt:lpstr>
      <vt:lpstr>Privredna aktivnost – kratkoročni trendovi</vt:lpstr>
      <vt:lpstr>Privredna aktivnost – kratkoročni trendovi</vt:lpstr>
      <vt:lpstr>Perspektiva rasta BDP</vt:lpstr>
      <vt:lpstr>Tržište rada: zaposlenost i nezaposlenost</vt:lpstr>
      <vt:lpstr>Tržišt rada: zarade i produktivnost</vt:lpstr>
      <vt:lpstr>Spoljnoekonomski odnosi–tekuće transakcije</vt:lpstr>
      <vt:lpstr>Spoljnoekonomski odnosi–tekuće transakcije</vt:lpstr>
      <vt:lpstr>Spoljnoekonomski odnosi–kapitalne transakcije</vt:lpstr>
      <vt:lpstr>Inflacija i kurs</vt:lpstr>
      <vt:lpstr>Inflacija i kurs</vt:lpstr>
      <vt:lpstr>Inflacija i kurs</vt:lpstr>
      <vt:lpstr>Fiskalni tokovi i politika</vt:lpstr>
      <vt:lpstr>Fiskalni tokovi i politika</vt:lpstr>
      <vt:lpstr>Fiskalni tokovi i politika</vt:lpstr>
      <vt:lpstr>Monetarna politika</vt:lpstr>
      <vt:lpstr>Kreditna aktivnost banaka i novčana masa</vt:lpstr>
      <vt:lpstr>Kamatne stope na kredite banaka</vt:lpstr>
      <vt:lpstr>PowerPoint Presentation</vt:lpstr>
    </vt:vector>
  </TitlesOfParts>
  <Company>Grizli777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nomske politike, makroekonomski trendovi i razvoj finansijskog sektora u Srbiji</dc:title>
  <dc:creator>Milojko Arsic</dc:creator>
  <cp:lastModifiedBy>Milojko</cp:lastModifiedBy>
  <cp:revision>3715</cp:revision>
  <cp:lastPrinted>2025-03-25T21:07:19Z</cp:lastPrinted>
  <dcterms:created xsi:type="dcterms:W3CDTF">2017-03-05T10:43:19Z</dcterms:created>
  <dcterms:modified xsi:type="dcterms:W3CDTF">2026-06-29T16:43:13Z</dcterms:modified>
</cp:coreProperties>
</file>